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685" r:id="rId5"/>
  </p:sldMasterIdLst>
  <p:notesMasterIdLst>
    <p:notesMasterId r:id="rId48"/>
  </p:notesMasterIdLst>
  <p:sldIdLst>
    <p:sldId id="257" r:id="rId6"/>
    <p:sldId id="324" r:id="rId7"/>
    <p:sldId id="430" r:id="rId8"/>
    <p:sldId id="702" r:id="rId9"/>
    <p:sldId id="431" r:id="rId10"/>
    <p:sldId id="433" r:id="rId11"/>
    <p:sldId id="434" r:id="rId12"/>
    <p:sldId id="435" r:id="rId13"/>
    <p:sldId id="436" r:id="rId14"/>
    <p:sldId id="437" r:id="rId15"/>
    <p:sldId id="438" r:id="rId16"/>
    <p:sldId id="328" r:id="rId17"/>
    <p:sldId id="376" r:id="rId18"/>
    <p:sldId id="330" r:id="rId19"/>
    <p:sldId id="703" r:id="rId20"/>
    <p:sldId id="356" r:id="rId21"/>
    <p:sldId id="368" r:id="rId22"/>
    <p:sldId id="343" r:id="rId23"/>
    <p:sldId id="333" r:id="rId24"/>
    <p:sldId id="653" r:id="rId25"/>
    <p:sldId id="729" r:id="rId26"/>
    <p:sldId id="441" r:id="rId27"/>
    <p:sldId id="637" r:id="rId28"/>
    <p:sldId id="641" r:id="rId29"/>
    <p:sldId id="636" r:id="rId30"/>
    <p:sldId id="640" r:id="rId31"/>
    <p:sldId id="634" r:id="rId32"/>
    <p:sldId id="642" r:id="rId33"/>
    <p:sldId id="650" r:id="rId34"/>
    <p:sldId id="707" r:id="rId35"/>
    <p:sldId id="661" r:id="rId36"/>
    <p:sldId id="706" r:id="rId37"/>
    <p:sldId id="714" r:id="rId38"/>
    <p:sldId id="709" r:id="rId39"/>
    <p:sldId id="710" r:id="rId40"/>
    <p:sldId id="712" r:id="rId41"/>
    <p:sldId id="713" r:id="rId42"/>
    <p:sldId id="698" r:id="rId43"/>
    <p:sldId id="699" r:id="rId44"/>
    <p:sldId id="715" r:id="rId45"/>
    <p:sldId id="717" r:id="rId46"/>
    <p:sldId id="727" r:id="rId47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581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19"/>
    <p:restoredTop sz="93447"/>
  </p:normalViewPr>
  <p:slideViewPr>
    <p:cSldViewPr snapToGrid="0" snapToObjects="1">
      <p:cViewPr varScale="1">
        <p:scale>
          <a:sx n="106" d="100"/>
          <a:sy n="106" d="100"/>
        </p:scale>
        <p:origin x="82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51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67E6A7-A9F7-EA42-9091-8B0808FE2029}" type="datetimeFigureOut">
              <a:rPr lang="en-US" smtClean="0"/>
              <a:t>3/27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BA52EF-7C02-7148-8EC3-D4A0EE43EF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20384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97303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or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BA52EF-7C02-7148-8EC3-D4A0EE43EF40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3611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or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BA52EF-7C02-7148-8EC3-D4A0EE43EF40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5453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5DF8E9E-3DD9-4B09-A580-A09B9A67D793}" type="slidenum">
              <a:rPr lang="en-US"/>
              <a:pPr/>
              <a:t>30</a:t>
            </a:fld>
            <a:endParaRPr lang="en-US" dirty="0"/>
          </a:p>
        </p:txBody>
      </p:sp>
      <p:sp>
        <p:nvSpPr>
          <p:cNvPr id="82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29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0025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C887F3-FC61-314C-918D-1C8B53E7BD9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14091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5DF8E9E-3DD9-4B09-A580-A09B9A67D793}" type="slidenum">
              <a:rPr lang="en-US"/>
              <a:pPr/>
              <a:t>32</a:t>
            </a:fld>
            <a:endParaRPr lang="en-US" dirty="0"/>
          </a:p>
        </p:txBody>
      </p:sp>
      <p:sp>
        <p:nvSpPr>
          <p:cNvPr id="82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29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130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5DF8E9E-3DD9-4B09-A580-A09B9A67D793}" type="slidenum">
              <a:rPr lang="en-US"/>
              <a:pPr/>
              <a:t>33</a:t>
            </a:fld>
            <a:endParaRPr lang="en-US" dirty="0"/>
          </a:p>
        </p:txBody>
      </p:sp>
      <p:sp>
        <p:nvSpPr>
          <p:cNvPr id="82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29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98840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5DF8E9E-3DD9-4B09-A580-A09B9A67D793}" type="slidenum">
              <a:rPr lang="en-US"/>
              <a:pPr/>
              <a:t>34</a:t>
            </a:fld>
            <a:endParaRPr lang="en-US" dirty="0"/>
          </a:p>
        </p:txBody>
      </p:sp>
      <p:sp>
        <p:nvSpPr>
          <p:cNvPr id="82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29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719580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5DF8E9E-3DD9-4B09-A580-A09B9A67D793}" type="slidenum">
              <a:rPr lang="en-US"/>
              <a:pPr/>
              <a:t>35</a:t>
            </a:fld>
            <a:endParaRPr lang="en-US" dirty="0"/>
          </a:p>
        </p:txBody>
      </p:sp>
      <p:sp>
        <p:nvSpPr>
          <p:cNvPr id="82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29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22423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5DF8E9E-3DD9-4B09-A580-A09B9A67D793}" type="slidenum">
              <a:rPr lang="en-US"/>
              <a:pPr/>
              <a:t>36</a:t>
            </a:fld>
            <a:endParaRPr lang="en-US" dirty="0"/>
          </a:p>
        </p:txBody>
      </p:sp>
      <p:sp>
        <p:nvSpPr>
          <p:cNvPr id="82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29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59023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5DF8E9E-3DD9-4B09-A580-A09B9A67D793}" type="slidenum">
              <a:rPr lang="en-US"/>
              <a:pPr/>
              <a:t>37</a:t>
            </a:fld>
            <a:endParaRPr lang="en-US" dirty="0"/>
          </a:p>
        </p:txBody>
      </p:sp>
      <p:sp>
        <p:nvSpPr>
          <p:cNvPr id="82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29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984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5DF8E9E-3DD9-4B09-A580-A09B9A67D793}" type="slidenum">
              <a:rPr lang="en-US"/>
              <a:pPr/>
              <a:t>14</a:t>
            </a:fld>
            <a:endParaRPr lang="en-US" dirty="0"/>
          </a:p>
        </p:txBody>
      </p:sp>
      <p:sp>
        <p:nvSpPr>
          <p:cNvPr id="82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29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or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BA52EF-7C02-7148-8EC3-D4A0EE43EF40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543642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or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BA52EF-7C02-7148-8EC3-D4A0EE43EF40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59307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5DF8E9E-3DD9-4B09-A580-A09B9A67D793}" type="slidenum">
              <a:rPr lang="en-US"/>
              <a:pPr/>
              <a:t>40</a:t>
            </a:fld>
            <a:endParaRPr lang="en-US" dirty="0"/>
          </a:p>
        </p:txBody>
      </p:sp>
      <p:sp>
        <p:nvSpPr>
          <p:cNvPr id="82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29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579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5DF8E9E-3DD9-4B09-A580-A09B9A67D793}" type="slidenum">
              <a:rPr lang="en-US"/>
              <a:pPr/>
              <a:t>41</a:t>
            </a:fld>
            <a:endParaRPr lang="en-US" dirty="0"/>
          </a:p>
        </p:txBody>
      </p:sp>
      <p:sp>
        <p:nvSpPr>
          <p:cNvPr id="82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29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027132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ke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C887F3-FC61-314C-918D-1C8B53E7BD9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38172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5DF8E9E-3DD9-4B09-A580-A09B9A67D793}" type="slidenum">
              <a:rPr lang="en-US"/>
              <a:pPr/>
              <a:t>15</a:t>
            </a:fld>
            <a:endParaRPr lang="en-US" dirty="0"/>
          </a:p>
        </p:txBody>
      </p:sp>
      <p:sp>
        <p:nvSpPr>
          <p:cNvPr id="82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29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15997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or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BA52EF-7C02-7148-8EC3-D4A0EE43EF40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9218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or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BA52EF-7C02-7148-8EC3-D4A0EE43EF40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05202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or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BA52EF-7C02-7148-8EC3-D4A0EE43EF40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06309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or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BA52EF-7C02-7148-8EC3-D4A0EE43EF40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0118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or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BA52EF-7C02-7148-8EC3-D4A0EE43EF40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6441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or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BA52EF-7C02-7148-8EC3-D4A0EE43EF40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1706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BC0E46-B4D0-5B4D-B40E-F72D5915EF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EE85194-3C0B-F942-BECA-CFF71D091F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089779-606B-6846-B7F1-B135CA19EE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332D69-9E31-3E4B-808D-21CD6E352A99}" type="datetime1">
              <a:rPr lang="en-ZA" smtClean="0"/>
              <a:t>2026/03/2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FEFC2-525B-FE45-A72C-610D99098F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E6A94A-3174-3046-A215-894C3F3CC8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46A603-A269-0040-AB3D-D00124EF1D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87536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1E9FA0-70E9-6244-A76F-959B075FF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F39214A-FE75-5643-97DD-D983285362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56B085-2006-B644-AC53-1CC09FFF30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18F9B-1CB0-2148-B77F-73C3233DB96F}" type="datetime1">
              <a:rPr lang="en-ZA" smtClean="0"/>
              <a:t>2026/03/2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5B23DD-9CA1-BA43-AAC1-A28108A36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9C3B99-201F-CC4C-9D1C-48D2489DCD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46A603-A269-0040-AB3D-D00124EF1D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8441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98131B0-C836-DA4A-88C9-2815AD9433C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5F41B9-1EA2-AD42-AF7C-2153B22DD2E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5355BB-AD75-AC41-8C77-1ADDA0C973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3F61B3-ABD5-2D49-B610-A8FA9841EDFC}" type="datetime1">
              <a:rPr lang="en-ZA" smtClean="0"/>
              <a:t>2026/03/2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41773B-E44E-FF41-8011-44C5C77CF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5D9878-7C24-5B49-A27E-4A6F1F3C04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46A603-A269-0040-AB3D-D00124EF1D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0085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357188" y="1879601"/>
            <a:ext cx="11472862" cy="4403723"/>
          </a:xfrm>
        </p:spPr>
        <p:txBody>
          <a:bodyPr tIns="1249724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7188" y="357188"/>
            <a:ext cx="11472863" cy="1522413"/>
          </a:xfrm>
          <a:solidFill>
            <a:schemeClr val="accent1"/>
          </a:solidFill>
        </p:spPr>
        <p:txBody>
          <a:bodyPr lIns="306000" tIns="324000" bIns="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357189" y="1879601"/>
            <a:ext cx="11472862" cy="533400"/>
          </a:xfrm>
          <a:solidFill>
            <a:schemeClr val="accent1">
              <a:alpha val="40000"/>
            </a:schemeClr>
          </a:solidFill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1198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2396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359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479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599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7190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8388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09586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31" name="Date Placeholder 3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2E91D33-8F01-E84A-BFB8-F983DDBFFB3F}" type="datetime1">
              <a:rPr lang="en-ZA" noProof="0" smtClean="0"/>
              <a:t>2026/03/27</a:t>
            </a:fld>
            <a:endParaRPr lang="en-US" noProof="0"/>
          </a:p>
        </p:txBody>
      </p:sp>
      <p:sp>
        <p:nvSpPr>
          <p:cNvPr id="32" name="Footer Placeholder 3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33" name="Slide Number Placeholder 3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86071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663" imgH="659" progId="TCLayout.ActiveDocument.1">
                  <p:embed/>
                </p:oleObj>
              </mc:Choice>
              <mc:Fallback>
                <p:oleObj name="think-cell Slide" r:id="rId4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30F65-CA82-F447-8845-D07D6E5338C1}" type="datetime1">
              <a:rPr lang="en-ZA" noProof="0" smtClean="0"/>
              <a:t>2026/03/27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3178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64446-0CCE-4734-B8E6-513DDC53CD85}" type="datetime1">
              <a:rPr lang="en-US" noProof="0" smtClean="0"/>
              <a:pPr/>
              <a:t>3/27/2026</a:t>
            </a:fld>
            <a:endParaRPr lang="en-US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COMPANY 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D1CE7045-5CDA-4635-8EEB-5A0FFD577EE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3"/>
          </p:nvPr>
        </p:nvSpPr>
        <p:spPr>
          <a:xfrm>
            <a:off x="814919" y="1312864"/>
            <a:ext cx="10562167" cy="482616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590242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64446-0CCE-4734-B8E6-513DDC53CD85}" type="datetime1">
              <a:rPr lang="en-US" noProof="0" smtClean="0"/>
              <a:pPr/>
              <a:t>3/27/2026</a:t>
            </a:fld>
            <a:endParaRPr lang="en-US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COMPANY 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D1CE7045-5CDA-4635-8EEB-5A0FFD577EE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3"/>
          </p:nvPr>
        </p:nvSpPr>
        <p:spPr>
          <a:xfrm>
            <a:off x="814919" y="1312864"/>
            <a:ext cx="10562167" cy="482616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017315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64446-0CCE-4734-B8E6-513DDC53CD85}" type="datetime1">
              <a:rPr lang="en-US" noProof="0" smtClean="0"/>
              <a:pPr/>
              <a:t>3/27/2026</a:t>
            </a:fld>
            <a:endParaRPr lang="en-US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COMPANY 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D1CE7045-5CDA-4635-8EEB-5A0FFD577EE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3"/>
          </p:nvPr>
        </p:nvSpPr>
        <p:spPr>
          <a:xfrm>
            <a:off x="814919" y="1312864"/>
            <a:ext cx="10562167" cy="482616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513788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64446-0CCE-4734-B8E6-513DDC53CD85}" type="datetime1">
              <a:rPr lang="en-US" noProof="0" smtClean="0"/>
              <a:pPr/>
              <a:t>3/27/2026</a:t>
            </a:fld>
            <a:endParaRPr lang="en-US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COMPANY 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D1CE7045-5CDA-4635-8EEB-5A0FFD577EE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3"/>
          </p:nvPr>
        </p:nvSpPr>
        <p:spPr>
          <a:xfrm>
            <a:off x="814919" y="1312864"/>
            <a:ext cx="10562167" cy="482616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11397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64446-0CCE-4734-B8E6-513DDC53CD85}" type="datetime1">
              <a:rPr lang="en-US" noProof="0" smtClean="0"/>
              <a:pPr/>
              <a:t>3/27/2026</a:t>
            </a:fld>
            <a:endParaRPr lang="en-US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COMPANY 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D1CE7045-5CDA-4635-8EEB-5A0FFD577EE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3"/>
          </p:nvPr>
        </p:nvSpPr>
        <p:spPr>
          <a:xfrm>
            <a:off x="814919" y="1312864"/>
            <a:ext cx="10562167" cy="482616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692615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64446-0CCE-4734-B8E6-513DDC53CD85}" type="datetime1">
              <a:rPr lang="en-US" noProof="0" smtClean="0"/>
              <a:pPr/>
              <a:t>3/27/2026</a:t>
            </a:fld>
            <a:endParaRPr lang="en-US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COMPANY 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D1CE7045-5CDA-4635-8EEB-5A0FFD577EE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3"/>
          </p:nvPr>
        </p:nvSpPr>
        <p:spPr>
          <a:xfrm>
            <a:off x="814919" y="1312864"/>
            <a:ext cx="10562167" cy="482616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646304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06FE71-9F37-D441-A2BC-90837B521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3C20E4-8D28-3343-9D23-8452C1BA20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19A791-3BF3-F641-BAF8-F3716E549D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BE433-34E3-9B44-AAA9-6ECD2B981B84}" type="datetime1">
              <a:rPr lang="en-ZA" smtClean="0"/>
              <a:t>2026/03/2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F870F1-513D-5E4C-ADEA-E0005A840E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B1E3EE-8F1E-5540-87BB-DC365E8FE1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46A603-A269-0040-AB3D-D00124EF1D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18642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64446-0CCE-4734-B8E6-513DDC53CD85}" type="datetime1">
              <a:rPr lang="en-US" noProof="0" smtClean="0"/>
              <a:pPr/>
              <a:t>3/27/2026</a:t>
            </a:fld>
            <a:endParaRPr lang="en-US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COMPANY 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D1CE7045-5CDA-4635-8EEB-5A0FFD577EE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3"/>
          </p:nvPr>
        </p:nvSpPr>
        <p:spPr>
          <a:xfrm>
            <a:off x="814919" y="1312864"/>
            <a:ext cx="10562167" cy="482616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925864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icon&#10;&#10;Description automatically generated">
            <a:extLst>
              <a:ext uri="{FF2B5EF4-FFF2-40B4-BE49-F238E27FC236}">
                <a16:creationId xmlns:a16="http://schemas.microsoft.com/office/drawing/2014/main" id="{58BD7E3E-096F-CA49-A072-628190C753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6938" y="5920155"/>
            <a:ext cx="1443055" cy="801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969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85213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CD9E53-2979-574C-9C1E-58FC5C7E8F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4BFCDE-503A-434E-94C3-D76944CB9E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2EA1D5-87B7-344C-969E-47A35C51BA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28E1E-FFF3-544E-87A8-6B11A76C409A}" type="datetime1">
              <a:rPr lang="en-ZA" smtClean="0"/>
              <a:t>2026/03/2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E023D5-46CB-C54A-A58A-B5C1BFC8E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ECD09B-5479-BA45-8F3C-34BD493A8B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46A603-A269-0040-AB3D-D00124EF1D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0446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F6F94-8D48-6743-9E6E-0140CABEA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EE6D2C-21D5-9046-BE41-269A7CC0FC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CEE146E-76CA-8641-9F6B-3A76949827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A6F1FA3-E879-E844-9751-A2743CFDD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04522-9775-5D48-8619-AF30B6FCB8B8}" type="datetime1">
              <a:rPr lang="en-ZA" smtClean="0"/>
              <a:t>2026/03/27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67332A-3F22-834C-9AA8-C5780A0A69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6F34BA-DCAE-3344-B288-BE2B68FCD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46A603-A269-0040-AB3D-D00124EF1D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48875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13DBEB-49A4-804E-A56E-5BFC6D4CD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26E681-280C-E14D-AC14-182A7F4D11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A56517-02AF-0847-94B3-F47CAFF71F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945F1F-E644-A646-B322-46480CEFD8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D87DD2F-ADFD-7D48-BA0E-5F3DEC655F5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8EF0A45-7AA4-FA4A-9262-6E7617047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8C6380-F50E-8C4D-AC15-66784A6B4AA0}" type="datetime1">
              <a:rPr lang="en-ZA" smtClean="0"/>
              <a:t>2026/03/27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2A29F5-3CA1-984B-8DB5-5CB162FF3D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55C966D-2714-6E42-82B7-A7070D751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46A603-A269-0040-AB3D-D00124EF1D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2126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542EF3-C6CD-E643-B573-C9C32BF344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1EC8C2C-916D-F643-ACBF-E1A346B108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E5A0A7-AAF7-F649-898D-6DBCF44C89F4}" type="datetime1">
              <a:rPr lang="en-ZA" smtClean="0"/>
              <a:t>2026/03/2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A7E754-9A83-7741-ABA0-A1C99C61FD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49210-E359-AC47-A8FD-ED011EB88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46A603-A269-0040-AB3D-D00124EF1D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8773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ADB952A-5424-9E41-B3AB-E9C996A423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597191-028E-6B4B-847E-0FE1BB307142}" type="datetime1">
              <a:rPr lang="en-ZA" smtClean="0"/>
              <a:t>2026/03/27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F68BCB-C748-9A4E-A39D-B0DE6A2E4F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DEFB4F-48C7-DB4A-A75E-A65C24C60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46A603-A269-0040-AB3D-D00124EF1D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0082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820EA6-463D-B54C-AA8C-DD78F1DB0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772BB0-B335-6E42-B981-21193E46D6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D273C1-2AB9-8F42-95DF-AD926B9E3B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C6D6035-4C4B-8C4C-BF02-76F4012709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F3B0B8-9CEF-5D4A-A528-683EEB51ED1E}" type="datetime1">
              <a:rPr lang="en-ZA" smtClean="0"/>
              <a:t>2026/03/27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38F823-C05E-E442-96C6-B17AA59A4E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45DAB2F-B2E9-904B-B107-F5C5526B08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46A603-A269-0040-AB3D-D00124EF1D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8934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65A16-3BFC-4E4F-B88C-9B384B7A72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A523A7E-8DD8-E94A-B2E1-686514204CE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9906FF-BF65-6841-9AFF-BEA280CD96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9E96922-824F-C445-BA67-66AF0AD750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3B4D4-76C6-E84F-87EB-0340DE41D04C}" type="datetime1">
              <a:rPr lang="en-ZA" smtClean="0"/>
              <a:t>2026/03/27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EB3A46-F1F9-9C47-9859-D7ED1FC5E5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7C3B2B-0B4C-7C4D-B424-18B20B9618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46A603-A269-0040-AB3D-D00124EF1D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3696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74CE5C7-ABB5-2F46-A7FD-B90CA519A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7577FD-5CC2-A744-A466-EB2B16B438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D6F7DE-E2DB-774A-971A-38313697A7F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2C73DC-4DE8-AC42-83A8-B2036D62FF0B}" type="datetime1">
              <a:rPr lang="en-ZA" smtClean="0"/>
              <a:t>2026/03/2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EA64C1-967B-8A4B-8252-8D14D22CF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0A0DFB-2F8E-4F44-BBF7-D5B6307453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6A603-A269-0040-AB3D-D00124EF1D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0723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4" r:id="rId15"/>
    <p:sldLayoutId id="2147483666" r:id="rId16"/>
    <p:sldLayoutId id="2147483667" r:id="rId17"/>
    <p:sldLayoutId id="2147483674" r:id="rId18"/>
    <p:sldLayoutId id="2147483675" r:id="rId19"/>
    <p:sldLayoutId id="2147483684" r:id="rId2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icon&#10;&#10;Description automatically generated">
            <a:extLst>
              <a:ext uri="{FF2B5EF4-FFF2-40B4-BE49-F238E27FC236}">
                <a16:creationId xmlns:a16="http://schemas.microsoft.com/office/drawing/2014/main" id="{1C0A1449-843B-F44D-BC54-30F572FE21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6938" y="5920155"/>
            <a:ext cx="1443055" cy="801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73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002060"/>
          </a:solidFill>
          <a:latin typeface="Gotham ExtraLight" panose="02000603030000020004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02060"/>
          </a:solidFill>
          <a:latin typeface="Gotham ExtraLight" panose="02000603030000020004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002060"/>
          </a:solidFill>
          <a:latin typeface="Gotham ExtraLight" panose="02000603030000020004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02060"/>
          </a:solidFill>
          <a:latin typeface="Gotham ExtraLight" panose="02000603030000020004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2060"/>
          </a:solidFill>
          <a:latin typeface="Gotham ExtraLight" panose="02000603030000020004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2060"/>
          </a:solidFill>
          <a:latin typeface="Gotham ExtraLight" panose="02000603030000020004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4.w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4.wmf"/><Relationship Id="rId4" Type="http://schemas.openxmlformats.org/officeDocument/2006/relationships/image" Target="../media/image17.jpeg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4.wmf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jpeg"/><Relationship Id="rId5" Type="http://schemas.microsoft.com/office/2007/relationships/hdphoto" Target="../media/hdphoto2.wdp"/><Relationship Id="rId4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4.wmf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4.wmf"/><Relationship Id="rId4" Type="http://schemas.microsoft.com/office/2007/relationships/hdphoto" Target="../media/hdphoto3.wdp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9.png"/><Relationship Id="rId4" Type="http://schemas.openxmlformats.org/officeDocument/2006/relationships/image" Target="../media/image4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tif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5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66.jpg"/><Relationship Id="rId5" Type="http://schemas.openxmlformats.org/officeDocument/2006/relationships/image" Target="../media/image65.jpg"/><Relationship Id="rId4" Type="http://schemas.openxmlformats.org/officeDocument/2006/relationships/image" Target="../media/image64.jp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030A047-2120-44A8-8754-329148AAE16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Industroclean </a:t>
            </a:r>
            <a:br>
              <a:rPr lang="en-GB" dirty="0"/>
            </a:br>
            <a:r>
              <a:rPr lang="en-GB" dirty="0" err="1"/>
              <a:t>Gics</a:t>
            </a:r>
            <a:r>
              <a:rPr lang="en-GB" dirty="0"/>
              <a:t>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91A675D-1E51-37CB-4107-16AC8BC9952C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ZA" dirty="0"/>
              <a:t>The good and bad practice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1A73CC5-E5F9-3845-A329-CFD85A2926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COMPANY CONFIDENTIAL</a:t>
            </a:r>
          </a:p>
        </p:txBody>
      </p:sp>
      <p:pic>
        <p:nvPicPr>
          <p:cNvPr id="6" name="Picture 5" descr="A picture containing icon&#10;&#10;Description automatically generated">
            <a:extLst>
              <a:ext uri="{FF2B5EF4-FFF2-40B4-BE49-F238E27FC236}">
                <a16:creationId xmlns:a16="http://schemas.microsoft.com/office/drawing/2014/main" id="{7A2AD25D-E0C2-3844-9337-7522435E7B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15318" y="5262182"/>
            <a:ext cx="2230582" cy="123863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54FDCA5-73D3-3F49-047C-E056C67720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5495" y="2769602"/>
            <a:ext cx="8597348" cy="3443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54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0E88637-15EB-48FA-87F9-7AD4EA7C07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2BC3BE-8757-4FFD-96BE-ACD25DE0BC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FF8A4E-5D44-4EF4-8A2E-A433164ABC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816" y="241835"/>
            <a:ext cx="10515600" cy="662291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EANING TOILETS AND SLUICES </a:t>
            </a:r>
            <a:endParaRPr lang="en-ZA" sz="32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5" name="Picture 14" descr="A person squatting on a toilet&#10;&#10;Description automatically generated with low confidence">
            <a:extLst>
              <a:ext uri="{FF2B5EF4-FFF2-40B4-BE49-F238E27FC236}">
                <a16:creationId xmlns:a16="http://schemas.microsoft.com/office/drawing/2014/main" id="{BEB53D3D-5FC5-B342-B2FE-E7920AAFCB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1401" y="904126"/>
            <a:ext cx="5029200" cy="576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372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3E8C108-732A-491E-B6DE-B7E0031AB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4A9F5F-9297-4A54-90CA-7381D4B50C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DF9146-8CAF-436A-93DA-4FE1FB342F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31" y="136525"/>
            <a:ext cx="10515600" cy="662291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EANING OF ISOLATION ROOMS</a:t>
            </a:r>
            <a:endParaRPr lang="en-ZA" sz="32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Picture 8" descr="A picture containing logo&#10;&#10;Description automatically generated">
            <a:extLst>
              <a:ext uri="{FF2B5EF4-FFF2-40B4-BE49-F238E27FC236}">
                <a16:creationId xmlns:a16="http://schemas.microsoft.com/office/drawing/2014/main" id="{CA335AA9-BBF8-E14D-91A8-22C344F9F6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1599" y="798816"/>
            <a:ext cx="4588727" cy="5922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0534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53376"/>
            <a:ext cx="10515600" cy="1325563"/>
          </a:xfrm>
        </p:spPr>
        <p:txBody>
          <a:bodyPr>
            <a:normAutofit/>
          </a:bodyPr>
          <a:lstStyle/>
          <a:p>
            <a:r>
              <a:rPr lang="en-ZA" sz="32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AIN OF CONTAMIN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227710-1F6A-8946-9581-88FF74E640CE}"/>
              </a:ext>
            </a:extLst>
          </p:cNvPr>
          <p:cNvSpPr txBox="1"/>
          <p:nvPr/>
        </p:nvSpPr>
        <p:spPr>
          <a:xfrm>
            <a:off x="316523" y="942536"/>
            <a:ext cx="10199077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jectives of Cleaning in a Hospital Environment</a:t>
            </a:r>
          </a:p>
          <a:p>
            <a:endParaRPr lang="en-US" sz="20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URCE – Existing site of infection</a:t>
            </a:r>
          </a:p>
          <a:p>
            <a:endParaRPr lang="en-US" sz="2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ERVOIR – Floors, furniture, equipment &amp; touch points</a:t>
            </a:r>
          </a:p>
          <a:p>
            <a:endParaRPr lang="en-US" sz="2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HICLE – Dust, staff &amp; equipment</a:t>
            </a:r>
          </a:p>
          <a:p>
            <a:endParaRPr lang="en-US" sz="20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itical Control Points in cross contamination </a:t>
            </a:r>
          </a:p>
          <a:p>
            <a:endParaRPr lang="en-US" sz="2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nd wash</a:t>
            </a:r>
          </a:p>
          <a:p>
            <a:endParaRPr lang="en-US" sz="2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uch points</a:t>
            </a:r>
          </a:p>
          <a:p>
            <a:endParaRPr lang="en-US" sz="2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st control</a:t>
            </a:r>
          </a:p>
          <a:p>
            <a:endParaRPr lang="en-US" sz="2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equencies</a:t>
            </a:r>
          </a:p>
        </p:txBody>
      </p:sp>
    </p:spTree>
    <p:extLst>
      <p:ext uri="{BB962C8B-B14F-4D97-AF65-F5344CB8AC3E}">
        <p14:creationId xmlns:p14="http://schemas.microsoft.com/office/powerpoint/2010/main" val="24543769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5DCDE244-9B65-4243-A032-AB2C29D8F1F0}"/>
              </a:ext>
            </a:extLst>
          </p:cNvPr>
          <p:cNvSpPr txBox="1"/>
          <p:nvPr/>
        </p:nvSpPr>
        <p:spPr>
          <a:xfrm>
            <a:off x="316523" y="942536"/>
            <a:ext cx="10199077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eaning Products chosen should have proven hygienic benefits:</a:t>
            </a:r>
          </a:p>
          <a:p>
            <a:endParaRPr lang="en-US" sz="2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posables for both floor &amp; above the floor cleaning</a:t>
            </a:r>
          </a:p>
          <a:p>
            <a:pPr marL="342900" indent="-34290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crofiber technology</a:t>
            </a:r>
          </a:p>
          <a:p>
            <a:pPr marL="342900" indent="-34290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One room” cloth/mop usage concept</a:t>
            </a:r>
          </a:p>
          <a:p>
            <a:pPr marL="342900" indent="-34290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atic scrubber driers</a:t>
            </a:r>
          </a:p>
          <a:p>
            <a:pPr marL="342900" indent="-34290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lour coding</a:t>
            </a:r>
          </a:p>
          <a:p>
            <a:pPr marL="342900" indent="-34290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dicated equipment in high risk areas</a:t>
            </a:r>
          </a:p>
          <a:p>
            <a:pPr marL="342900" indent="-34290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ean from clean to dirty. From top to bottom</a:t>
            </a:r>
          </a:p>
          <a:p>
            <a:pPr marL="342900" indent="-34290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 I cleaning or contaminating?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D88DFB4-B4FD-5C4D-9ADC-580829FAE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81511"/>
            <a:ext cx="10515600" cy="1325563"/>
          </a:xfrm>
        </p:spPr>
        <p:txBody>
          <a:bodyPr>
            <a:normAutofit/>
          </a:bodyPr>
          <a:lstStyle/>
          <a:p>
            <a:r>
              <a:rPr lang="en-ZA" sz="32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EANING PRODUCT SELECTION CRITERIA</a:t>
            </a:r>
          </a:p>
        </p:txBody>
      </p:sp>
    </p:spTree>
    <p:extLst>
      <p:ext uri="{BB962C8B-B14F-4D97-AF65-F5344CB8AC3E}">
        <p14:creationId xmlns:p14="http://schemas.microsoft.com/office/powerpoint/2010/main" val="16135203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7695027" y="2841674"/>
            <a:ext cx="4276504" cy="3840166"/>
            <a:chOff x="2824629" y="4353580"/>
            <a:chExt cx="3024187" cy="2791658"/>
          </a:xfrm>
        </p:grpSpPr>
        <p:pic>
          <p:nvPicPr>
            <p:cNvPr id="7" name="Picture 4" descr="pretoria west006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24629" y="4876800"/>
              <a:ext cx="3024187" cy="22684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TextBox 3"/>
            <p:cNvSpPr txBox="1"/>
            <p:nvPr/>
          </p:nvSpPr>
          <p:spPr>
            <a:xfrm>
              <a:off x="3034395" y="4353580"/>
              <a:ext cx="24384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ZA" sz="2800" b="1" dirty="0">
                  <a:solidFill>
                    <a:srgbClr val="FF0000"/>
                  </a:solidFill>
                </a:rPr>
                <a:t>DON’TS</a:t>
              </a:r>
            </a:p>
          </p:txBody>
        </p:sp>
      </p:grpSp>
      <p:pic>
        <p:nvPicPr>
          <p:cNvPr id="2051" name="Picture 3" descr="C:\Users\WENDYM\AppData\Local\Microsoft\Windows\Temporary Internet Files\Content.IE5\V095O9RE\MC900432423[1].wm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7025" y="2728110"/>
            <a:ext cx="1704975" cy="1572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13712" y="256342"/>
            <a:ext cx="85941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3200" b="1" dirty="0">
                <a:solidFill>
                  <a:srgbClr val="002060"/>
                </a:solidFill>
                <a:latin typeface="Calibri" panose="020F0502020204030204" pitchFamily="34" charset="0"/>
              </a:rPr>
              <a:t>CLEANING [COLLECT AND CONTAIN SOIL]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0A3A3E-CDC9-F045-9EC6-7FBFB7F30AFD}"/>
              </a:ext>
            </a:extLst>
          </p:cNvPr>
          <p:cNvSpPr txBox="1"/>
          <p:nvPr/>
        </p:nvSpPr>
        <p:spPr>
          <a:xfrm>
            <a:off x="113713" y="1089285"/>
            <a:ext cx="939721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To remove dirt &amp; organic material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AIM&gt; aesthetic effect &amp; lowering bio burden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Removing favorable environment for micro organisms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Emphasis on effective cleaning methods to reduce cross contamination</a:t>
            </a:r>
          </a:p>
          <a:p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Daily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0567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13712" y="256342"/>
            <a:ext cx="1187372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3200" b="1" dirty="0">
                <a:solidFill>
                  <a:srgbClr val="002060"/>
                </a:solidFill>
                <a:latin typeface="Calibri" panose="020F0502020204030204" pitchFamily="34" charset="0"/>
              </a:rPr>
              <a:t>CO-OPERATION – INFECTION CONTROL/CLEANING DEPARTMEN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0A3A3E-CDC9-F045-9EC6-7FBFB7F30AFD}"/>
              </a:ext>
            </a:extLst>
          </p:cNvPr>
          <p:cNvSpPr txBox="1"/>
          <p:nvPr/>
        </p:nvSpPr>
        <p:spPr>
          <a:xfrm>
            <a:off x="204566" y="1075217"/>
            <a:ext cx="9397218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r>
              <a:rPr lang="en-US" sz="2400" dirty="0">
                <a:solidFill>
                  <a:srgbClr val="002060"/>
                </a:solidFill>
              </a:rPr>
              <a:t>Disinfectant Policy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sz="24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400" dirty="0">
                <a:solidFill>
                  <a:srgbClr val="002060"/>
                </a:solidFill>
              </a:rPr>
              <a:t>Approved Cleaning Policy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sz="24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400" dirty="0">
                <a:solidFill>
                  <a:srgbClr val="002060"/>
                </a:solidFill>
              </a:rPr>
              <a:t>Precautions in high risk areas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sz="24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400" dirty="0">
                <a:solidFill>
                  <a:srgbClr val="002060"/>
                </a:solidFill>
              </a:rPr>
              <a:t>Training</a:t>
            </a:r>
          </a:p>
        </p:txBody>
      </p:sp>
    </p:spTree>
    <p:extLst>
      <p:ext uri="{BB962C8B-B14F-4D97-AF65-F5344CB8AC3E}">
        <p14:creationId xmlns:p14="http://schemas.microsoft.com/office/powerpoint/2010/main" val="21704243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95" y="1566122"/>
            <a:ext cx="4241040" cy="23849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6791" y="703385"/>
            <a:ext cx="3239714" cy="550797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5852" y="703385"/>
            <a:ext cx="3317806" cy="550797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C5D79D9-BC34-C947-B0F4-A1136BA4EDBE}"/>
              </a:ext>
            </a:extLst>
          </p:cNvPr>
          <p:cNvSpPr txBox="1"/>
          <p:nvPr/>
        </p:nvSpPr>
        <p:spPr>
          <a:xfrm>
            <a:off x="227191" y="118610"/>
            <a:ext cx="95789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3200" b="1" dirty="0">
                <a:solidFill>
                  <a:srgbClr val="FF0000"/>
                </a:solidFill>
                <a:latin typeface="Calibri" panose="020F0502020204030204" pitchFamily="34" charset="0"/>
              </a:rPr>
              <a:t>DON’TS!</a:t>
            </a:r>
          </a:p>
        </p:txBody>
      </p:sp>
      <p:pic>
        <p:nvPicPr>
          <p:cNvPr id="11" name="Picture 3" descr="C:\Users\WENDYM\AppData\Local\Microsoft\Windows\Temporary Internet Files\Content.IE5\V095O9RE\MC900432423[1].wmf">
            <a:extLst>
              <a:ext uri="{FF2B5EF4-FFF2-40B4-BE49-F238E27FC236}">
                <a16:creationId xmlns:a16="http://schemas.microsoft.com/office/drawing/2014/main" id="{B807D112-9B73-5C43-9771-D287FA7F8C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0877" y="629059"/>
            <a:ext cx="1704975" cy="1572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" descr="C:\Users\WENDYM\AppData\Local\Microsoft\Windows\Temporary Internet Files\Content.IE5\V095O9RE\MC900432423[1].wmf">
            <a:extLst>
              <a:ext uri="{FF2B5EF4-FFF2-40B4-BE49-F238E27FC236}">
                <a16:creationId xmlns:a16="http://schemas.microsoft.com/office/drawing/2014/main" id="{5D251DF6-8483-454F-9D59-BB8E2F3C25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1170" y="5198267"/>
            <a:ext cx="1704975" cy="1572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55353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D1CE7045-5CDA-4635-8EEB-5A0FFD577EE8}" type="slidenum">
              <a:rPr lang="en-US" noProof="0" smtClean="0"/>
              <a:pPr/>
              <a:t>17</a:t>
            </a:fld>
            <a:endParaRPr lang="en-US" noProof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415" r="10816"/>
          <a:stretch/>
        </p:blipFill>
        <p:spPr>
          <a:xfrm>
            <a:off x="7679500" y="3075902"/>
            <a:ext cx="4188357" cy="354615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7139" t="20729" r="19622"/>
          <a:stretch/>
        </p:blipFill>
        <p:spPr>
          <a:xfrm>
            <a:off x="227191" y="2673180"/>
            <a:ext cx="4397623" cy="368317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0D9CEDE-136C-FA45-A5EE-9D3A68653C53}"/>
              </a:ext>
            </a:extLst>
          </p:cNvPr>
          <p:cNvSpPr txBox="1"/>
          <p:nvPr/>
        </p:nvSpPr>
        <p:spPr>
          <a:xfrm>
            <a:off x="227191" y="118610"/>
            <a:ext cx="95789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3200" b="1" dirty="0">
                <a:solidFill>
                  <a:srgbClr val="FF0000"/>
                </a:solidFill>
                <a:latin typeface="Calibri" panose="020F0502020204030204" pitchFamily="34" charset="0"/>
              </a:rPr>
              <a:t>DON’TS!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53" r="11150"/>
          <a:stretch/>
        </p:blipFill>
        <p:spPr>
          <a:xfrm>
            <a:off x="3730870" y="650111"/>
            <a:ext cx="4730260" cy="3847308"/>
          </a:xfrm>
          <a:prstGeom prst="rect">
            <a:avLst/>
          </a:prstGeom>
        </p:spPr>
      </p:pic>
      <p:pic>
        <p:nvPicPr>
          <p:cNvPr id="11" name="Picture 3" descr="C:\Users\WENDYM\AppData\Local\Microsoft\Windows\Temporary Internet Files\Content.IE5\V095O9RE\MC900432423[1].wmf">
            <a:extLst>
              <a:ext uri="{FF2B5EF4-FFF2-40B4-BE49-F238E27FC236}">
                <a16:creationId xmlns:a16="http://schemas.microsoft.com/office/drawing/2014/main" id="{65763DA4-52EB-DC47-BA66-C4174191B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0305" y="4848981"/>
            <a:ext cx="1177632" cy="1085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68202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3062" y="3789583"/>
            <a:ext cx="3657600" cy="27432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3062" y="874225"/>
            <a:ext cx="3657600" cy="27432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209" y="1160584"/>
            <a:ext cx="3024554" cy="4536831"/>
          </a:xfrm>
          <a:prstGeom prst="rect">
            <a:avLst/>
          </a:prstGeom>
        </p:spPr>
      </p:pic>
      <p:pic>
        <p:nvPicPr>
          <p:cNvPr id="9" name="Picture 4" descr="Masslinn Tool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505360" y="2126199"/>
            <a:ext cx="3472754" cy="2605600"/>
          </a:xfrm>
          <a:prstGeom prst="rect">
            <a:avLst/>
          </a:prstGeom>
          <a:noFill/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28F49C3-FFCE-1E4E-83A3-F2C6BEECB32B}"/>
              </a:ext>
            </a:extLst>
          </p:cNvPr>
          <p:cNvSpPr txBox="1"/>
          <p:nvPr/>
        </p:nvSpPr>
        <p:spPr>
          <a:xfrm>
            <a:off x="227191" y="118610"/>
            <a:ext cx="95789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3200" b="1" dirty="0">
                <a:solidFill>
                  <a:srgbClr val="002060"/>
                </a:solidFill>
                <a:latin typeface="Calibri" panose="020F0502020204030204" pitchFamily="34" charset="0"/>
              </a:rPr>
              <a:t>DO’S!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BFB0297-E992-A144-8D8C-A6E180D73ABC}"/>
              </a:ext>
            </a:extLst>
          </p:cNvPr>
          <p:cNvSpPr txBox="1"/>
          <p:nvPr/>
        </p:nvSpPr>
        <p:spPr>
          <a:xfrm>
            <a:off x="8083062" y="117292"/>
            <a:ext cx="95789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3200" b="1" dirty="0">
                <a:solidFill>
                  <a:srgbClr val="FF0000"/>
                </a:solidFill>
                <a:latin typeface="Calibri" panose="020F0502020204030204" pitchFamily="34" charset="0"/>
              </a:rPr>
              <a:t>DON’TS!</a:t>
            </a:r>
          </a:p>
        </p:txBody>
      </p:sp>
      <p:pic>
        <p:nvPicPr>
          <p:cNvPr id="13" name="Picture 3" descr="C:\Users\WENDYM\AppData\Local\Microsoft\Windows\Temporary Internet Files\Content.IE5\V095O9RE\MC900432423[1].wmf">
            <a:extLst>
              <a:ext uri="{FF2B5EF4-FFF2-40B4-BE49-F238E27FC236}">
                <a16:creationId xmlns:a16="http://schemas.microsoft.com/office/drawing/2014/main" id="{EC01AFD5-7100-FB42-8208-57E26042AA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2112" y="2813130"/>
            <a:ext cx="1335892" cy="1231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42891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2597" y="3637652"/>
            <a:ext cx="3920465" cy="295425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125000"/>
                    </a14:imgEffect>
                    <a14:imgEffect>
                      <a14:brightnessContrast bright="24000" contras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8073" y="2075970"/>
            <a:ext cx="3459587" cy="451593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A5BCCC1-DFC0-364A-9973-A64E038D8208}"/>
              </a:ext>
            </a:extLst>
          </p:cNvPr>
          <p:cNvSpPr txBox="1"/>
          <p:nvPr/>
        </p:nvSpPr>
        <p:spPr>
          <a:xfrm>
            <a:off x="4162597" y="2927960"/>
            <a:ext cx="95789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3200" b="1" dirty="0">
                <a:solidFill>
                  <a:srgbClr val="FF0000"/>
                </a:solidFill>
                <a:latin typeface="Calibri" panose="020F0502020204030204" pitchFamily="34" charset="0"/>
              </a:rPr>
              <a:t>DON’TS!</a:t>
            </a:r>
          </a:p>
        </p:txBody>
      </p:sp>
      <p:pic>
        <p:nvPicPr>
          <p:cNvPr id="11" name="Picture 3" descr="C:\Users\WENDYM\AppData\Local\Microsoft\Windows\Temporary Internet Files\Content.IE5\V095O9RE\MC900432423[1].wmf">
            <a:extLst>
              <a:ext uri="{FF2B5EF4-FFF2-40B4-BE49-F238E27FC236}">
                <a16:creationId xmlns:a16="http://schemas.microsoft.com/office/drawing/2014/main" id="{096E703D-E67B-E449-B21A-33086FA189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5189" y="2813131"/>
            <a:ext cx="1335892" cy="1231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CD068CF-BF98-374B-B3AB-4F9711CA8139}"/>
              </a:ext>
            </a:extLst>
          </p:cNvPr>
          <p:cNvSpPr txBox="1"/>
          <p:nvPr/>
        </p:nvSpPr>
        <p:spPr>
          <a:xfrm>
            <a:off x="134227" y="452405"/>
            <a:ext cx="939721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r>
              <a:rPr lang="en-US" sz="2400" dirty="0">
                <a:solidFill>
                  <a:srgbClr val="002060"/>
                </a:solidFill>
              </a:rPr>
              <a:t>Chemical Dilution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sz="2400" dirty="0">
                <a:solidFill>
                  <a:srgbClr val="002060"/>
                </a:solidFill>
              </a:rPr>
              <a:t>No Topping up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sz="2400" dirty="0">
                <a:solidFill>
                  <a:srgbClr val="002060"/>
                </a:solidFill>
              </a:rPr>
              <a:t>Clean and disinfect bottles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sz="2400" dirty="0">
                <a:solidFill>
                  <a:srgbClr val="002060"/>
                </a:solidFill>
              </a:rPr>
              <a:t>Drain and dry 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sz="24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400" dirty="0">
                <a:solidFill>
                  <a:srgbClr val="002060"/>
                </a:solidFill>
              </a:rPr>
              <a:t>Correct Dilution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sz="2400" dirty="0">
                <a:solidFill>
                  <a:srgbClr val="002060"/>
                </a:solidFill>
              </a:rPr>
              <a:t>Labelling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sz="2400" dirty="0">
                <a:solidFill>
                  <a:srgbClr val="002060"/>
                </a:solidFill>
              </a:rPr>
              <a:t>SDS Sheets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sz="2400" dirty="0">
                <a:solidFill>
                  <a:srgbClr val="002060"/>
                </a:solidFill>
              </a:rPr>
              <a:t>Disinfectants</a:t>
            </a:r>
          </a:p>
        </p:txBody>
      </p:sp>
    </p:spTree>
    <p:extLst>
      <p:ext uri="{BB962C8B-B14F-4D97-AF65-F5344CB8AC3E}">
        <p14:creationId xmlns:p14="http://schemas.microsoft.com/office/powerpoint/2010/main" val="336739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5EDBA67-380C-A342-8253-7BD947360F6B}"/>
              </a:ext>
            </a:extLst>
          </p:cNvPr>
          <p:cNvSpPr txBox="1"/>
          <p:nvPr/>
        </p:nvSpPr>
        <p:spPr>
          <a:xfrm>
            <a:off x="178816" y="1025670"/>
            <a:ext cx="1192876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r>
              <a:rPr lang="en-ZA" b="1" dirty="0">
                <a:solidFill>
                  <a:srgbClr val="002060"/>
                </a:solidFill>
              </a:rPr>
              <a:t>A large number of patients, many with infections are present within the hospital environment [Immune compromised]</a:t>
            </a:r>
          </a:p>
          <a:p>
            <a:pPr marL="285750" indent="-285750">
              <a:buFont typeface="Wingdings" pitchFamily="2" charset="2"/>
              <a:buChar char="ü"/>
            </a:pPr>
            <a:endParaRPr lang="en-ZA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ZA" b="1" dirty="0">
                <a:solidFill>
                  <a:srgbClr val="002060"/>
                </a:solidFill>
              </a:rPr>
              <a:t>Micro-organisms present in this environment will include a proportion of virulent anti-biotic resistant strains.</a:t>
            </a:r>
          </a:p>
          <a:p>
            <a:pPr marL="285750" indent="-285750">
              <a:buFont typeface="Wingdings" pitchFamily="2" charset="2"/>
              <a:buChar char="ü"/>
            </a:pPr>
            <a:endParaRPr lang="en-ZA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ZA" b="1" dirty="0">
                <a:solidFill>
                  <a:srgbClr val="002060"/>
                </a:solidFill>
              </a:rPr>
              <a:t>Patient care involves hand contact by nursing staff. </a:t>
            </a:r>
            <a:endParaRPr lang="en-ZA" dirty="0">
              <a:solidFill>
                <a:srgbClr val="002060"/>
              </a:solidFill>
            </a:endParaRP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A5B6EA5F-49FA-0047-BCC0-927091B85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816" y="241835"/>
            <a:ext cx="10515600" cy="662291"/>
          </a:xfrm>
        </p:spPr>
        <p:txBody>
          <a:bodyPr>
            <a:normAutofit/>
          </a:bodyPr>
          <a:lstStyle/>
          <a:p>
            <a:r>
              <a:rPr lang="en-ZA" sz="32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IMPORTANCE OF CLEANING IN A HOSPITAL </a:t>
            </a:r>
          </a:p>
        </p:txBody>
      </p:sp>
      <p:pic>
        <p:nvPicPr>
          <p:cNvPr id="9" name="Picture 8" descr="A person standing in a room&#10;&#10;Description automatically generated with low confidence">
            <a:extLst>
              <a:ext uri="{FF2B5EF4-FFF2-40B4-BE49-F238E27FC236}">
                <a16:creationId xmlns:a16="http://schemas.microsoft.com/office/drawing/2014/main" id="{A2853916-073D-8F43-B39A-96849DCE53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35885" y="2996418"/>
            <a:ext cx="5688368" cy="3319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3091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DBE950F0-46B9-8C41-AB7E-4F9DC2CD50CC}"/>
              </a:ext>
            </a:extLst>
          </p:cNvPr>
          <p:cNvSpPr txBox="1"/>
          <p:nvPr/>
        </p:nvSpPr>
        <p:spPr>
          <a:xfrm>
            <a:off x="156724" y="1489273"/>
            <a:ext cx="11439530" cy="1184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en-ZA" sz="1400" dirty="0"/>
          </a:p>
          <a:p>
            <a:endParaRPr lang="en-ZA" sz="1400" dirty="0"/>
          </a:p>
          <a:p>
            <a:endParaRPr lang="en-ZA" dirty="0"/>
          </a:p>
          <a:p>
            <a:endParaRPr lang="en-ZA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1485C43-9F94-464F-BB71-006A7433BF6E}"/>
              </a:ext>
            </a:extLst>
          </p:cNvPr>
          <p:cNvSpPr txBox="1"/>
          <p:nvPr/>
        </p:nvSpPr>
        <p:spPr>
          <a:xfrm>
            <a:off x="156724" y="981442"/>
            <a:ext cx="1143953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ZA" b="1" dirty="0">
                <a:solidFill>
                  <a:srgbClr val="002060"/>
                </a:solidFill>
              </a:rPr>
              <a:t>We ensure that you can access the information and SDS sheets for each chemical which provides all the necessary data on the chemical including the dilution, usage instructions and safety information.</a:t>
            </a:r>
          </a:p>
          <a:p>
            <a:endParaRPr lang="en-ZA" sz="1400" dirty="0"/>
          </a:p>
          <a:p>
            <a:endParaRPr lang="en-ZA" dirty="0"/>
          </a:p>
          <a:p>
            <a:endParaRPr lang="en-ZA" dirty="0"/>
          </a:p>
        </p:txBody>
      </p:sp>
      <p:pic>
        <p:nvPicPr>
          <p:cNvPr id="5" name="Picture 4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9E90F025-A51B-CB4F-A6CF-8D59776E113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" r="-907"/>
          <a:stretch/>
        </p:blipFill>
        <p:spPr>
          <a:xfrm>
            <a:off x="2600359" y="2173568"/>
            <a:ext cx="2852418" cy="40204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9309F738-E9A2-1A49-AFCA-1E11F975C9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6489" y="2145076"/>
            <a:ext cx="2852419" cy="40906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B0144EE-493B-7848-A9A1-11E55B9F1CC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79502" y="5484899"/>
            <a:ext cx="2044700" cy="151292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33F4405-F657-9A4B-B3D0-06621D228497}"/>
              </a:ext>
            </a:extLst>
          </p:cNvPr>
          <p:cNvSpPr txBox="1"/>
          <p:nvPr/>
        </p:nvSpPr>
        <p:spPr>
          <a:xfrm>
            <a:off x="0" y="267416"/>
            <a:ext cx="1159625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2060"/>
                </a:solidFill>
                <a:latin typeface="Gotham Narrow Book" pitchFamily="50" charset="0"/>
              </a:rPr>
              <a:t> BENEFITS OF INDUSTROCLEAN CHEMICALS - INFO &amp; SDS SHEETS</a:t>
            </a:r>
            <a:endParaRPr lang="en-ZA" sz="2800" b="1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9299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95B7A5A-D56A-437D-9B98-851EDC224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EE15D1-19C7-456E-A13C-48925A5C62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385236-B7BA-4938-9EA6-6DEC8CA653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0AC9145-E7AA-42A0-A3CE-E3F49A0A9B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5518"/>
            <a:ext cx="10515600" cy="1074880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 of Dirt and Chemicals</a:t>
            </a:r>
            <a:endParaRPr lang="en-ZA" sz="4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C9B99EC5-415E-4721-9315-42859C5807EC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 rotWithShape="1">
          <a:blip r:embed="rId2"/>
          <a:srcRect l="2171" t="3507" r="1149"/>
          <a:stretch/>
        </p:blipFill>
        <p:spPr>
          <a:xfrm>
            <a:off x="2197768" y="1553860"/>
            <a:ext cx="7796463" cy="4349027"/>
          </a:xfrm>
        </p:spPr>
      </p:pic>
    </p:spTree>
    <p:extLst>
      <p:ext uri="{BB962C8B-B14F-4D97-AF65-F5344CB8AC3E}">
        <p14:creationId xmlns:p14="http://schemas.microsoft.com/office/powerpoint/2010/main" val="2032211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301BC8-37AE-40EA-9843-1F1479B553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BE4242F-3677-454C-8670-61CBE0C305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385236-B7BA-4938-9EA6-6DEC8CA653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11C0AE3-6E10-4E4E-B21D-7E37656692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931" y="136525"/>
            <a:ext cx="10515600" cy="703279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ergents</a:t>
            </a:r>
            <a:endParaRPr lang="en-ZA" sz="4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D7EAFB14-7B2D-4055-A272-A5C4C3E5E1C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76064" y="1203758"/>
            <a:ext cx="10847671" cy="4942340"/>
          </a:xfrm>
        </p:spPr>
        <p:txBody>
          <a:bodyPr>
            <a:normAutofit/>
          </a:bodyPr>
          <a:lstStyle/>
          <a:p>
            <a:r>
              <a:rPr lang="en-GB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soap works</a:t>
            </a:r>
          </a:p>
          <a:p>
            <a:pPr marL="0" indent="0">
              <a:buNone/>
            </a:pPr>
            <a:endParaRPr lang="en-GB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dues</a:t>
            </a:r>
            <a:endParaRPr lang="en-ZA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2488582-2A05-47C8-BE65-3DE15F3035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139" y="2444816"/>
            <a:ext cx="10327729" cy="246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640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F3D06EA-2AD6-3940-AAAE-C26B4A5D6DB3}"/>
              </a:ext>
            </a:extLst>
          </p:cNvPr>
          <p:cNvSpPr txBox="1"/>
          <p:nvPr/>
        </p:nvSpPr>
        <p:spPr>
          <a:xfrm>
            <a:off x="4572000" y="393302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EB3DB6-7319-4144-86DB-605A6EF681D3}"/>
              </a:ext>
            </a:extLst>
          </p:cNvPr>
          <p:cNvSpPr txBox="1"/>
          <p:nvPr/>
        </p:nvSpPr>
        <p:spPr>
          <a:xfrm>
            <a:off x="6312665" y="403217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20DDD8F1-14DB-6D44-8D2D-4D065DE5DD4B}"/>
              </a:ext>
            </a:extLst>
          </p:cNvPr>
          <p:cNvGraphicFramePr>
            <a:graphicFrameLocks noGrp="1"/>
          </p:cNvGraphicFramePr>
          <p:nvPr/>
        </p:nvGraphicFramePr>
        <p:xfrm>
          <a:off x="132202" y="1349981"/>
          <a:ext cx="11876185" cy="48176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4262">
                  <a:extLst>
                    <a:ext uri="{9D8B030D-6E8A-4147-A177-3AD203B41FA5}">
                      <a16:colId xmlns:a16="http://schemas.microsoft.com/office/drawing/2014/main" val="3404300628"/>
                    </a:ext>
                  </a:extLst>
                </a:gridCol>
                <a:gridCol w="1587589">
                  <a:extLst>
                    <a:ext uri="{9D8B030D-6E8A-4147-A177-3AD203B41FA5}">
                      <a16:colId xmlns:a16="http://schemas.microsoft.com/office/drawing/2014/main" val="3466209788"/>
                    </a:ext>
                  </a:extLst>
                </a:gridCol>
                <a:gridCol w="4549966">
                  <a:extLst>
                    <a:ext uri="{9D8B030D-6E8A-4147-A177-3AD203B41FA5}">
                      <a16:colId xmlns:a16="http://schemas.microsoft.com/office/drawing/2014/main" val="1371327195"/>
                    </a:ext>
                  </a:extLst>
                </a:gridCol>
                <a:gridCol w="5464368">
                  <a:extLst>
                    <a:ext uri="{9D8B030D-6E8A-4147-A177-3AD203B41FA5}">
                      <a16:colId xmlns:a16="http://schemas.microsoft.com/office/drawing/2014/main" val="3136716398"/>
                    </a:ext>
                  </a:extLst>
                </a:gridCol>
              </a:tblGrid>
              <a:tr h="2408846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P03205</a:t>
                      </a:r>
                      <a:endParaRPr lang="en-ZA" sz="9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 vert="wordArtVert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 err="1">
                          <a:solidFill>
                            <a:srgbClr val="002060"/>
                          </a:solidFill>
                          <a:effectLst/>
                        </a:rPr>
                        <a:t>Proclean</a:t>
                      </a:r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 5L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Neutral all-purpose cleaner with light citrus fragrance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Viscous, very economical and medium to high foaming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Affects neither wax nor polymer films nor water resistant paints 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Kind to skin and materials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For the cleaning of floors, bathtubs, washbasins, tiled walls, plastic and painted surfaces as well as for the maintenance cleaning of floors treated with self-shine dispersions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5L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endParaRPr lang="en-ZA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2393494"/>
                  </a:ext>
                </a:extLst>
              </a:tr>
              <a:tr h="2408846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P03207</a:t>
                      </a:r>
                      <a:endParaRPr lang="en-ZA" sz="9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 vert="wordArtVert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>
                          <a:solidFill>
                            <a:srgbClr val="002060"/>
                          </a:solidFill>
                          <a:effectLst/>
                        </a:rPr>
                        <a:t>Proclean MK 100ml (pack of 10)</a:t>
                      </a:r>
                      <a:endParaRPr lang="en-ZA" sz="1400" b="1" i="0" u="none" strike="noStrike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Neutral all-purpose cleaner with light citrus fragrance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Viscous, very economical and medium to high foaming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Affects neither wax nor polymer films nor water resistant paints 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Kind to skin and materials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For the cleaning of floors, bathtubs, washbasins, tiled walls, plastic and painted surfaces as well as for the maintenance cleaning of floors treated with self-shine dispersions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100ml x (10 units) = 1L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endParaRPr lang="en-ZA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1681714"/>
                  </a:ext>
                </a:extLst>
              </a:tr>
            </a:tbl>
          </a:graphicData>
        </a:graphic>
      </p:graphicFrame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949C00E9-97CD-2248-A5D3-83D2B621A3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778" y="1618938"/>
            <a:ext cx="1412464" cy="2098623"/>
          </a:xfrm>
          <a:prstGeom prst="rect">
            <a:avLst/>
          </a:prstGeom>
        </p:spPr>
      </p:pic>
      <p:pic>
        <p:nvPicPr>
          <p:cNvPr id="12" name="Picture 11" descr="Text&#10;&#10;Description automatically generated with medium confidence">
            <a:extLst>
              <a:ext uri="{FF2B5EF4-FFF2-40B4-BE49-F238E27FC236}">
                <a16:creationId xmlns:a16="http://schemas.microsoft.com/office/drawing/2014/main" id="{8C159181-D1A2-0A4E-81FB-064FF84A87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32242" y="2111413"/>
            <a:ext cx="920164" cy="1606148"/>
          </a:xfrm>
          <a:prstGeom prst="rect">
            <a:avLst/>
          </a:prstGeom>
        </p:spPr>
      </p:pic>
      <p:pic>
        <p:nvPicPr>
          <p:cNvPr id="14" name="Picture 13" descr="A picture containing diagram&#10;&#10;Description automatically generated">
            <a:extLst>
              <a:ext uri="{FF2B5EF4-FFF2-40B4-BE49-F238E27FC236}">
                <a16:creationId xmlns:a16="http://schemas.microsoft.com/office/drawing/2014/main" id="{19B86D49-713C-E94E-AF18-746EA8E13D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8614" y="4205371"/>
            <a:ext cx="1100284" cy="229746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CECE165-D079-6D42-BCF4-C7439B62C9C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9461" y="5545905"/>
            <a:ext cx="2044700" cy="1512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92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F3D06EA-2AD6-3940-AAAE-C26B4A5D6DB3}"/>
              </a:ext>
            </a:extLst>
          </p:cNvPr>
          <p:cNvSpPr txBox="1"/>
          <p:nvPr/>
        </p:nvSpPr>
        <p:spPr>
          <a:xfrm>
            <a:off x="4572000" y="393302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EB3DB6-7319-4144-86DB-605A6EF681D3}"/>
              </a:ext>
            </a:extLst>
          </p:cNvPr>
          <p:cNvSpPr txBox="1"/>
          <p:nvPr/>
        </p:nvSpPr>
        <p:spPr>
          <a:xfrm>
            <a:off x="6312665" y="403217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F6FADC8-7FA5-0C41-9045-1A9C9FFEEE23}"/>
              </a:ext>
            </a:extLst>
          </p:cNvPr>
          <p:cNvSpPr txBox="1"/>
          <p:nvPr/>
        </p:nvSpPr>
        <p:spPr>
          <a:xfrm>
            <a:off x="4726236" y="362454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22126F-81CC-8B4E-8E09-291694BB6D9E}"/>
              </a:ext>
            </a:extLst>
          </p:cNvPr>
          <p:cNvSpPr txBox="1"/>
          <p:nvPr/>
        </p:nvSpPr>
        <p:spPr>
          <a:xfrm>
            <a:off x="5442333" y="358048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526DFB-C9EB-C34D-AFCD-F855210171A4}"/>
              </a:ext>
            </a:extLst>
          </p:cNvPr>
          <p:cNvSpPr txBox="1"/>
          <p:nvPr/>
        </p:nvSpPr>
        <p:spPr>
          <a:xfrm>
            <a:off x="4428781" y="306268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A071E530-1393-A749-995C-1815C1982C38}"/>
              </a:ext>
            </a:extLst>
          </p:cNvPr>
          <p:cNvGraphicFramePr>
            <a:graphicFrameLocks noGrp="1"/>
          </p:cNvGraphicFramePr>
          <p:nvPr/>
        </p:nvGraphicFramePr>
        <p:xfrm>
          <a:off x="219292" y="1452723"/>
          <a:ext cx="11753414" cy="49605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1426">
                  <a:extLst>
                    <a:ext uri="{9D8B030D-6E8A-4147-A177-3AD203B41FA5}">
                      <a16:colId xmlns:a16="http://schemas.microsoft.com/office/drawing/2014/main" val="1261421355"/>
                    </a:ext>
                  </a:extLst>
                </a:gridCol>
                <a:gridCol w="1423588">
                  <a:extLst>
                    <a:ext uri="{9D8B030D-6E8A-4147-A177-3AD203B41FA5}">
                      <a16:colId xmlns:a16="http://schemas.microsoft.com/office/drawing/2014/main" val="3430520565"/>
                    </a:ext>
                  </a:extLst>
                </a:gridCol>
                <a:gridCol w="4257440">
                  <a:extLst>
                    <a:ext uri="{9D8B030D-6E8A-4147-A177-3AD203B41FA5}">
                      <a16:colId xmlns:a16="http://schemas.microsoft.com/office/drawing/2014/main" val="2076978615"/>
                    </a:ext>
                  </a:extLst>
                </a:gridCol>
                <a:gridCol w="5800960">
                  <a:extLst>
                    <a:ext uri="{9D8B030D-6E8A-4147-A177-3AD203B41FA5}">
                      <a16:colId xmlns:a16="http://schemas.microsoft.com/office/drawing/2014/main" val="1429527435"/>
                    </a:ext>
                  </a:extLst>
                </a:gridCol>
              </a:tblGrid>
              <a:tr h="2335162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P03430</a:t>
                      </a:r>
                      <a:endParaRPr lang="en-ZA" sz="9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 vert="wordArtVert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 err="1">
                          <a:solidFill>
                            <a:srgbClr val="002060"/>
                          </a:solidFill>
                          <a:effectLst/>
                        </a:rPr>
                        <a:t>Progen</a:t>
                      </a:r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 5L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 err="1">
                          <a:solidFill>
                            <a:srgbClr val="002060"/>
                          </a:solidFill>
                          <a:effectLst/>
                        </a:rPr>
                        <a:t>Progen</a:t>
                      </a:r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 is a high foaming all-purpose cleaner based on cleaning alcohol and surfactants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0" u="none" strike="noStrike">
                          <a:solidFill>
                            <a:srgbClr val="002060"/>
                          </a:solidFill>
                          <a:effectLst/>
                        </a:rPr>
                        <a:t>Dries quickly and free of streaks and water marks. Enables gentle and efficient cleaning of all water-resistant surfaces</a:t>
                      </a:r>
                      <a:br>
                        <a:rPr lang="en-ZA" sz="1400" b="0" u="none" strike="noStrike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b="0" u="none" strike="noStrike">
                          <a:solidFill>
                            <a:srgbClr val="002060"/>
                          </a:solidFill>
                          <a:effectLst/>
                        </a:rPr>
                        <a:t>Progen is slightly perfumed and maintains the floss of the cleaned surfaces</a:t>
                      </a:r>
                      <a:br>
                        <a:rPr lang="en-ZA" sz="1400" b="0" u="none" strike="noStrike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b="0" u="none" strike="noStrike">
                          <a:solidFill>
                            <a:srgbClr val="002060"/>
                          </a:solidFill>
                          <a:effectLst/>
                        </a:rPr>
                        <a:t>For the manual cleaning of all surfaces such as plastic, glass, ceramics, chrome, steel, stone and for the wet cleaning of windows</a:t>
                      </a:r>
                      <a:br>
                        <a:rPr lang="en-ZA" sz="1400" b="0" u="none" strike="noStrike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b="0" u="none" strike="noStrike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b="0" u="none" strike="noStrike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b="0" u="none" strike="noStrike">
                          <a:solidFill>
                            <a:srgbClr val="002060"/>
                          </a:solidFill>
                          <a:effectLst/>
                        </a:rPr>
                        <a:t>5L</a:t>
                      </a:r>
                      <a:br>
                        <a:rPr lang="en-ZA" sz="1400" b="0" u="none" strike="noStrike">
                          <a:solidFill>
                            <a:srgbClr val="002060"/>
                          </a:solidFill>
                          <a:effectLst/>
                        </a:rPr>
                      </a:br>
                      <a:endParaRPr lang="en-ZA" sz="1400" b="0" i="0" u="none" strike="noStrike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352316"/>
                  </a:ext>
                </a:extLst>
              </a:tr>
              <a:tr h="2625435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P03437</a:t>
                      </a:r>
                      <a:endParaRPr lang="en-ZA" sz="9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 vert="wordArtVert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 err="1">
                          <a:solidFill>
                            <a:srgbClr val="002060"/>
                          </a:solidFill>
                          <a:effectLst/>
                        </a:rPr>
                        <a:t>Progen</a:t>
                      </a:r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 MK 100ml (pack of 10)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high foaming all-purpose cleaner based on cleaning alcohol and surfactants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Dries quickly and free of streaks and water marks. Enables gentle and efficient cleaning of all water-resistant surfaces</a:t>
                      </a:r>
                      <a:br>
                        <a:rPr lang="en-ZA" sz="1400" b="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b="0" u="none" strike="noStrike" dirty="0" err="1">
                          <a:solidFill>
                            <a:srgbClr val="002060"/>
                          </a:solidFill>
                          <a:effectLst/>
                        </a:rPr>
                        <a:t>Progen</a:t>
                      </a:r>
                      <a:r>
                        <a:rPr lang="en-ZA" sz="14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 is slightly perfumed and maintains the floss of the cleaned surfaces</a:t>
                      </a:r>
                      <a:br>
                        <a:rPr lang="en-ZA" sz="1400" b="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For the manual cleaning of all surfaces such as plastic, glass, ceramics, chrome, steel, stone and for the wet cleaning of windows</a:t>
                      </a:r>
                      <a:br>
                        <a:rPr lang="en-ZA" sz="1400" b="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b="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100ml x (10 units) = 1L</a:t>
                      </a:r>
                      <a:br>
                        <a:rPr lang="en-ZA" sz="1400" b="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b="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endParaRPr lang="en-ZA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3363325"/>
                  </a:ext>
                </a:extLst>
              </a:tr>
            </a:tbl>
          </a:graphicData>
        </a:graphic>
      </p:graphicFrame>
      <p:pic>
        <p:nvPicPr>
          <p:cNvPr id="12" name="Picture 11" descr="Text&#10;&#10;Description automatically generated with medium confidence">
            <a:extLst>
              <a:ext uri="{FF2B5EF4-FFF2-40B4-BE49-F238E27FC236}">
                <a16:creationId xmlns:a16="http://schemas.microsoft.com/office/drawing/2014/main" id="{D8C13B4D-C222-BA4C-874A-21A14E051D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524" y="1785152"/>
            <a:ext cx="1227365" cy="1831459"/>
          </a:xfrm>
          <a:prstGeom prst="rect">
            <a:avLst/>
          </a:prstGeom>
        </p:spPr>
      </p:pic>
      <p:pic>
        <p:nvPicPr>
          <p:cNvPr id="14" name="Picture 13" descr="Text&#10;&#10;Description automatically generated with low confidence">
            <a:extLst>
              <a:ext uri="{FF2B5EF4-FFF2-40B4-BE49-F238E27FC236}">
                <a16:creationId xmlns:a16="http://schemas.microsoft.com/office/drawing/2014/main" id="{1E7D9DF4-E60F-4542-A59D-ADFC8B6FE5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0190" y="2104451"/>
            <a:ext cx="918079" cy="1520098"/>
          </a:xfrm>
          <a:prstGeom prst="rect">
            <a:avLst/>
          </a:prstGeom>
        </p:spPr>
      </p:pic>
      <p:pic>
        <p:nvPicPr>
          <p:cNvPr id="17" name="Picture 16" descr="A picture containing text, bottle, indoor, purple&#10;&#10;Description automatically generated">
            <a:extLst>
              <a:ext uri="{FF2B5EF4-FFF2-40B4-BE49-F238E27FC236}">
                <a16:creationId xmlns:a16="http://schemas.microsoft.com/office/drawing/2014/main" id="{C177ED11-4EF5-D043-A335-694320EBC7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9722" y="4443017"/>
            <a:ext cx="880967" cy="209589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65D0335-17C8-E54B-B607-EB44F9B9A4F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9461" y="5545905"/>
            <a:ext cx="2044700" cy="151292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43045061-2A52-014F-937C-8FCDCC787893}"/>
              </a:ext>
            </a:extLst>
          </p:cNvPr>
          <p:cNvSpPr txBox="1"/>
          <p:nvPr/>
        </p:nvSpPr>
        <p:spPr>
          <a:xfrm>
            <a:off x="132202" y="246094"/>
            <a:ext cx="115962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002060"/>
                </a:solidFill>
                <a:latin typeface="Gotham Narrow Book" pitchFamily="50" charset="0"/>
              </a:rPr>
              <a:t>INDUSTROCLEAN PRO RANGE CHEMICALS</a:t>
            </a:r>
            <a:endParaRPr lang="en-ZA" sz="3200" b="1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1724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F3D06EA-2AD6-3940-AAAE-C26B4A5D6DB3}"/>
              </a:ext>
            </a:extLst>
          </p:cNvPr>
          <p:cNvSpPr txBox="1"/>
          <p:nvPr/>
        </p:nvSpPr>
        <p:spPr>
          <a:xfrm>
            <a:off x="4572000" y="393302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EB3DB6-7319-4144-86DB-605A6EF681D3}"/>
              </a:ext>
            </a:extLst>
          </p:cNvPr>
          <p:cNvSpPr txBox="1"/>
          <p:nvPr/>
        </p:nvSpPr>
        <p:spPr>
          <a:xfrm>
            <a:off x="6312665" y="403217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2B9EEF2-37DD-4D46-806E-DE85CAA0FA55}"/>
              </a:ext>
            </a:extLst>
          </p:cNvPr>
          <p:cNvGraphicFramePr>
            <a:graphicFrameLocks noGrp="1"/>
          </p:cNvGraphicFramePr>
          <p:nvPr/>
        </p:nvGraphicFramePr>
        <p:xfrm>
          <a:off x="143219" y="1392780"/>
          <a:ext cx="11887201" cy="49635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4516">
                  <a:extLst>
                    <a:ext uri="{9D8B030D-6E8A-4147-A177-3AD203B41FA5}">
                      <a16:colId xmlns:a16="http://schemas.microsoft.com/office/drawing/2014/main" val="4002395295"/>
                    </a:ext>
                  </a:extLst>
                </a:gridCol>
                <a:gridCol w="1686487">
                  <a:extLst>
                    <a:ext uri="{9D8B030D-6E8A-4147-A177-3AD203B41FA5}">
                      <a16:colId xmlns:a16="http://schemas.microsoft.com/office/drawing/2014/main" val="2481147024"/>
                    </a:ext>
                  </a:extLst>
                </a:gridCol>
                <a:gridCol w="4351662">
                  <a:extLst>
                    <a:ext uri="{9D8B030D-6E8A-4147-A177-3AD203B41FA5}">
                      <a16:colId xmlns:a16="http://schemas.microsoft.com/office/drawing/2014/main" val="904956872"/>
                    </a:ext>
                  </a:extLst>
                </a:gridCol>
                <a:gridCol w="5574536">
                  <a:extLst>
                    <a:ext uri="{9D8B030D-6E8A-4147-A177-3AD203B41FA5}">
                      <a16:colId xmlns:a16="http://schemas.microsoft.com/office/drawing/2014/main" val="1111006879"/>
                    </a:ext>
                  </a:extLst>
                </a:gridCol>
              </a:tblGrid>
              <a:tr h="2481785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P03135</a:t>
                      </a:r>
                      <a:endParaRPr lang="en-ZA" sz="9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 vert="wordArtVert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 err="1">
                          <a:solidFill>
                            <a:srgbClr val="002060"/>
                          </a:solidFill>
                          <a:effectLst/>
                        </a:rPr>
                        <a:t>Prosan</a:t>
                      </a:r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 XP 5L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Sanitary all purpose cleaner with a pleasant long-lasting fragrance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Kind to skin and not corrosive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For a fast and thorough cleaning of all washable surfaces and fittings made of stainless steel, plastic, porcelain, ceramic, enamel, glass etc in bath, shower, wash and restrooms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5L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endParaRPr lang="en-ZA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7392903"/>
                  </a:ext>
                </a:extLst>
              </a:tr>
              <a:tr h="2481785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P03137</a:t>
                      </a:r>
                      <a:endParaRPr lang="en-ZA" sz="9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 vert="wordArtVert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 err="1">
                          <a:solidFill>
                            <a:srgbClr val="002060"/>
                          </a:solidFill>
                          <a:effectLst/>
                        </a:rPr>
                        <a:t>Prosan</a:t>
                      </a:r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 XP MK 100ml (pack of 10)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Sanitary all purpose cleaner concentrate with a pleasant long-lasting fragrance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Kind to skin and not corrosive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For a fast and thorough cleaning of all washable surfaces and fittings made of stainless steel, plastic, porcelain, ceramic, enamel, glass etc in bath, shower, wash and restrooms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100ml x (10 units) = 1L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endParaRPr lang="en-ZA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385337"/>
                  </a:ext>
                </a:extLst>
              </a:tr>
            </a:tbl>
          </a:graphicData>
        </a:graphic>
      </p:graphicFrame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7BABCBF9-8394-BA4B-9D4F-CE4B2C187D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562" y="1644927"/>
            <a:ext cx="1415307" cy="2069078"/>
          </a:xfrm>
          <a:prstGeom prst="rect">
            <a:avLst/>
          </a:prstGeom>
        </p:spPr>
      </p:pic>
      <p:pic>
        <p:nvPicPr>
          <p:cNvPr id="12" name="Picture 11" descr="Text&#10;&#10;Description automatically generated with low confidence">
            <a:extLst>
              <a:ext uri="{FF2B5EF4-FFF2-40B4-BE49-F238E27FC236}">
                <a16:creationId xmlns:a16="http://schemas.microsoft.com/office/drawing/2014/main" id="{99BCFF20-C26F-E448-A54C-4CA19A8AF8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3869" y="2113090"/>
            <a:ext cx="894561" cy="1600915"/>
          </a:xfrm>
          <a:prstGeom prst="rect">
            <a:avLst/>
          </a:prstGeom>
        </p:spPr>
      </p:pic>
      <p:pic>
        <p:nvPicPr>
          <p:cNvPr id="14" name="Picture 13" descr="A picture containing text, bottle, indoor&#10;&#10;Description automatically generated">
            <a:extLst>
              <a:ext uri="{FF2B5EF4-FFF2-40B4-BE49-F238E27FC236}">
                <a16:creationId xmlns:a16="http://schemas.microsoft.com/office/drawing/2014/main" id="{1D190341-A057-654B-A0C0-6C4F4DAD28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8108" y="4401505"/>
            <a:ext cx="816214" cy="196056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A56BCF2-D5FB-0541-94CB-890AF7073F7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9461" y="5545905"/>
            <a:ext cx="2044700" cy="151292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F5793BE-905E-F84B-A513-1712BFCCC46B}"/>
              </a:ext>
            </a:extLst>
          </p:cNvPr>
          <p:cNvSpPr txBox="1"/>
          <p:nvPr/>
        </p:nvSpPr>
        <p:spPr>
          <a:xfrm>
            <a:off x="132202" y="246094"/>
            <a:ext cx="115962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002060"/>
                </a:solidFill>
                <a:latin typeface="Gotham Narrow Book" pitchFamily="50" charset="0"/>
              </a:rPr>
              <a:t>INDUSTROCLEAN PRO RANGE CHEMICALS</a:t>
            </a:r>
            <a:endParaRPr lang="en-ZA" sz="3200" b="1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4668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F3D06EA-2AD6-3940-AAAE-C26B4A5D6DB3}"/>
              </a:ext>
            </a:extLst>
          </p:cNvPr>
          <p:cNvSpPr txBox="1"/>
          <p:nvPr/>
        </p:nvSpPr>
        <p:spPr>
          <a:xfrm>
            <a:off x="4572000" y="393302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EB3DB6-7319-4144-86DB-605A6EF681D3}"/>
              </a:ext>
            </a:extLst>
          </p:cNvPr>
          <p:cNvSpPr txBox="1"/>
          <p:nvPr/>
        </p:nvSpPr>
        <p:spPr>
          <a:xfrm>
            <a:off x="6312665" y="403217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F6FADC8-7FA5-0C41-9045-1A9C9FFEEE23}"/>
              </a:ext>
            </a:extLst>
          </p:cNvPr>
          <p:cNvSpPr txBox="1"/>
          <p:nvPr/>
        </p:nvSpPr>
        <p:spPr>
          <a:xfrm>
            <a:off x="4726236" y="362454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22126F-81CC-8B4E-8E09-291694BB6D9E}"/>
              </a:ext>
            </a:extLst>
          </p:cNvPr>
          <p:cNvSpPr txBox="1"/>
          <p:nvPr/>
        </p:nvSpPr>
        <p:spPr>
          <a:xfrm>
            <a:off x="5442333" y="358048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5699ACEF-39F4-564D-B6D6-D698F1455E17}"/>
              </a:ext>
            </a:extLst>
          </p:cNvPr>
          <p:cNvGraphicFramePr>
            <a:graphicFrameLocks noGrp="1"/>
          </p:cNvGraphicFramePr>
          <p:nvPr/>
        </p:nvGraphicFramePr>
        <p:xfrm>
          <a:off x="184533" y="1416205"/>
          <a:ext cx="11801819" cy="46430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2544">
                  <a:extLst>
                    <a:ext uri="{9D8B030D-6E8A-4147-A177-3AD203B41FA5}">
                      <a16:colId xmlns:a16="http://schemas.microsoft.com/office/drawing/2014/main" val="3481458243"/>
                    </a:ext>
                  </a:extLst>
                </a:gridCol>
                <a:gridCol w="2120870">
                  <a:extLst>
                    <a:ext uri="{9D8B030D-6E8A-4147-A177-3AD203B41FA5}">
                      <a16:colId xmlns:a16="http://schemas.microsoft.com/office/drawing/2014/main" val="1519200815"/>
                    </a:ext>
                  </a:extLst>
                </a:gridCol>
                <a:gridCol w="5100810">
                  <a:extLst>
                    <a:ext uri="{9D8B030D-6E8A-4147-A177-3AD203B41FA5}">
                      <a16:colId xmlns:a16="http://schemas.microsoft.com/office/drawing/2014/main" val="2413147327"/>
                    </a:ext>
                  </a:extLst>
                </a:gridCol>
                <a:gridCol w="4307595">
                  <a:extLst>
                    <a:ext uri="{9D8B030D-6E8A-4147-A177-3AD203B41FA5}">
                      <a16:colId xmlns:a16="http://schemas.microsoft.com/office/drawing/2014/main" val="608377467"/>
                    </a:ext>
                  </a:extLst>
                </a:gridCol>
              </a:tblGrid>
              <a:tr h="2321536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P03405</a:t>
                      </a:r>
                      <a:endParaRPr lang="en-ZA" sz="9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 vert="wordArtVert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 err="1">
                          <a:solidFill>
                            <a:srgbClr val="002060"/>
                          </a:solidFill>
                          <a:effectLst/>
                        </a:rPr>
                        <a:t>Procal</a:t>
                      </a:r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 5l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Viscous acidic toilet bowl cleaner for the removal of lime scale and urinary stains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Deodorizing and bactericidal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For cleaning toilet bowls and other sanitary facilities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When used regularly, prevents the building of lime scale and urinary stains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5L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endParaRPr lang="en-ZA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3936860"/>
                  </a:ext>
                </a:extLst>
              </a:tr>
              <a:tr h="2321536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P03408</a:t>
                      </a:r>
                      <a:endParaRPr lang="en-ZA" sz="9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 vert="wordArtVert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>
                          <a:solidFill>
                            <a:srgbClr val="002060"/>
                          </a:solidFill>
                          <a:effectLst/>
                        </a:rPr>
                        <a:t>Procal 100ml (pack of 10)</a:t>
                      </a:r>
                      <a:endParaRPr lang="en-ZA" sz="1400" b="1" i="0" u="none" strike="noStrike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Viscous acidic toilet bowl cleaner for the removal of lime scale and urinary stains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Deodorizing and bactericidal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For cleaning toilet bowls and other sanitary facilities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When used regularly, prevents the building of lime scale and urinary stains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100ml x (10 units) = 1L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endParaRPr lang="en-ZA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415510"/>
                  </a:ext>
                </a:extLst>
              </a:tr>
            </a:tbl>
          </a:graphicData>
        </a:graphic>
      </p:graphicFrame>
      <p:pic>
        <p:nvPicPr>
          <p:cNvPr id="12" name="Picture 11" descr="Text&#10;&#10;Description automatically generated with low confidence">
            <a:extLst>
              <a:ext uri="{FF2B5EF4-FFF2-40B4-BE49-F238E27FC236}">
                <a16:creationId xmlns:a16="http://schemas.microsoft.com/office/drawing/2014/main" id="{D971833A-9F80-7845-9D05-5E0A4011EA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923" y="1695633"/>
            <a:ext cx="1381926" cy="2003095"/>
          </a:xfrm>
          <a:prstGeom prst="rect">
            <a:avLst/>
          </a:prstGeom>
        </p:spPr>
      </p:pic>
      <p:pic>
        <p:nvPicPr>
          <p:cNvPr id="14" name="Picture 13" descr="A picture containing text, bottle, indoor, close&#10;&#10;Description automatically generated">
            <a:extLst>
              <a:ext uri="{FF2B5EF4-FFF2-40B4-BE49-F238E27FC236}">
                <a16:creationId xmlns:a16="http://schemas.microsoft.com/office/drawing/2014/main" id="{F59524A7-D021-2C4F-AA09-23E5AC0A83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887" y="4032173"/>
            <a:ext cx="998828" cy="2488548"/>
          </a:xfrm>
          <a:prstGeom prst="rect">
            <a:avLst/>
          </a:prstGeom>
        </p:spPr>
      </p:pic>
      <p:pic>
        <p:nvPicPr>
          <p:cNvPr id="17" name="Picture 16" descr="A white bottle of shampoo&#10;&#10;Description automatically generated with low confidence">
            <a:extLst>
              <a:ext uri="{FF2B5EF4-FFF2-40B4-BE49-F238E27FC236}">
                <a16:creationId xmlns:a16="http://schemas.microsoft.com/office/drawing/2014/main" id="{A607DA05-31FE-8B47-8372-36CDB045C3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3850" y="2173573"/>
            <a:ext cx="558264" cy="146289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C68C2AA-193B-EA45-8425-2CF97D9C3BD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9461" y="5545905"/>
            <a:ext cx="2044700" cy="151292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96DEA95-B968-3243-B569-44E18A4074BA}"/>
              </a:ext>
            </a:extLst>
          </p:cNvPr>
          <p:cNvSpPr txBox="1"/>
          <p:nvPr/>
        </p:nvSpPr>
        <p:spPr>
          <a:xfrm>
            <a:off x="132202" y="246094"/>
            <a:ext cx="115962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002060"/>
                </a:solidFill>
                <a:latin typeface="Gotham Narrow Book" pitchFamily="50" charset="0"/>
              </a:rPr>
              <a:t>INDUSTROCLEAN PRO RANGE CHEMICALS</a:t>
            </a:r>
            <a:endParaRPr lang="en-ZA" sz="3200" b="1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1002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F3D06EA-2AD6-3940-AAAE-C26B4A5D6DB3}"/>
              </a:ext>
            </a:extLst>
          </p:cNvPr>
          <p:cNvSpPr txBox="1"/>
          <p:nvPr/>
        </p:nvSpPr>
        <p:spPr>
          <a:xfrm>
            <a:off x="4572000" y="393302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9BC21D9-1C5D-E74F-B39A-2D6DD6C0DA49}"/>
              </a:ext>
            </a:extLst>
          </p:cNvPr>
          <p:cNvGraphicFramePr>
            <a:graphicFrameLocks noGrp="1"/>
          </p:cNvGraphicFramePr>
          <p:nvPr/>
        </p:nvGraphicFramePr>
        <p:xfrm>
          <a:off x="165253" y="1369605"/>
          <a:ext cx="11887201" cy="47980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4516">
                  <a:extLst>
                    <a:ext uri="{9D8B030D-6E8A-4147-A177-3AD203B41FA5}">
                      <a16:colId xmlns:a16="http://schemas.microsoft.com/office/drawing/2014/main" val="2764419409"/>
                    </a:ext>
                  </a:extLst>
                </a:gridCol>
                <a:gridCol w="2611903">
                  <a:extLst>
                    <a:ext uri="{9D8B030D-6E8A-4147-A177-3AD203B41FA5}">
                      <a16:colId xmlns:a16="http://schemas.microsoft.com/office/drawing/2014/main" val="77724700"/>
                    </a:ext>
                  </a:extLst>
                </a:gridCol>
                <a:gridCol w="3133791">
                  <a:extLst>
                    <a:ext uri="{9D8B030D-6E8A-4147-A177-3AD203B41FA5}">
                      <a16:colId xmlns:a16="http://schemas.microsoft.com/office/drawing/2014/main" val="2577733878"/>
                    </a:ext>
                  </a:extLst>
                </a:gridCol>
                <a:gridCol w="5866991">
                  <a:extLst>
                    <a:ext uri="{9D8B030D-6E8A-4147-A177-3AD203B41FA5}">
                      <a16:colId xmlns:a16="http://schemas.microsoft.com/office/drawing/2014/main" val="3636694189"/>
                    </a:ext>
                  </a:extLst>
                </a:gridCol>
              </a:tblGrid>
              <a:tr h="2399034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P02225</a:t>
                      </a:r>
                      <a:endParaRPr lang="en-ZA" sz="9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 vert="wordArtVert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 err="1">
                          <a:solidFill>
                            <a:srgbClr val="002060"/>
                          </a:solidFill>
                          <a:effectLst/>
                        </a:rPr>
                        <a:t>Prosolve</a:t>
                      </a:r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 5L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Heavy duty alkaline cleaner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Alkaline, moderately foaming and non-corrosive industrial and basic cleaner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For removing oil, grease and industrial soiling, marks on walls, doors as well as wax and polymer films (e.g. Proflor H) on all water and alkali-resistant surfaces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5L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endParaRPr lang="en-ZA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75530"/>
                  </a:ext>
                </a:extLst>
              </a:tr>
              <a:tr h="2399034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P02227</a:t>
                      </a:r>
                      <a:endParaRPr lang="en-ZA" sz="9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 vert="wordArtVert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>
                          <a:solidFill>
                            <a:srgbClr val="002060"/>
                          </a:solidFill>
                          <a:effectLst/>
                        </a:rPr>
                        <a:t>Prosolve MK 100ml (pack of 10)</a:t>
                      </a:r>
                      <a:endParaRPr lang="en-ZA" sz="1400" b="1" i="0" u="none" strike="noStrike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Heavy duty cleaner concentrate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Alkaline, moderately foaming and non-corrosive industrial and basic cleaner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For removing oil, grease and industrial soiling, marks on walls, doors as well as wax and polymer films (e.g. Proflor H) on all water and alkali-resistant surfaces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100ml x (10 units) = 1L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endParaRPr lang="en-ZA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1058796"/>
                  </a:ext>
                </a:extLst>
              </a:tr>
            </a:tbl>
          </a:graphicData>
        </a:graphic>
      </p:graphicFrame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6A46BC76-A7F4-134D-AD5F-B330884995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193" y="1719195"/>
            <a:ext cx="1410656" cy="2049444"/>
          </a:xfrm>
          <a:prstGeom prst="rect">
            <a:avLst/>
          </a:prstGeom>
        </p:spPr>
      </p:pic>
      <p:pic>
        <p:nvPicPr>
          <p:cNvPr id="11" name="Picture 10" descr="A picture containing text, bottle, close&#10;&#10;Description automatically generated">
            <a:extLst>
              <a:ext uri="{FF2B5EF4-FFF2-40B4-BE49-F238E27FC236}">
                <a16:creationId xmlns:a16="http://schemas.microsoft.com/office/drawing/2014/main" id="{E5B85CD8-FC7D-5C46-9D6B-6F7586AE74E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788" t="1990" r="5529" b="1990"/>
          <a:stretch/>
        </p:blipFill>
        <p:spPr>
          <a:xfrm>
            <a:off x="1753849" y="2006875"/>
            <a:ext cx="914400" cy="1761763"/>
          </a:xfrm>
          <a:prstGeom prst="rect">
            <a:avLst/>
          </a:prstGeom>
        </p:spPr>
      </p:pic>
      <p:pic>
        <p:nvPicPr>
          <p:cNvPr id="13" name="Picture 12" descr="A picture containing text, indoor, counter&#10;&#10;Description automatically generated">
            <a:extLst>
              <a:ext uri="{FF2B5EF4-FFF2-40B4-BE49-F238E27FC236}">
                <a16:creationId xmlns:a16="http://schemas.microsoft.com/office/drawing/2014/main" id="{983E7D40-3772-C54B-A814-6775F7B4DA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3610" y="4117688"/>
            <a:ext cx="1009822" cy="229562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3BE99D1-A9B6-A247-8302-001C8A8DC8E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9461" y="5545905"/>
            <a:ext cx="2044700" cy="151292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08518B1-AFF4-C84A-8F54-EBFF1C56CC3D}"/>
              </a:ext>
            </a:extLst>
          </p:cNvPr>
          <p:cNvSpPr txBox="1"/>
          <p:nvPr/>
        </p:nvSpPr>
        <p:spPr>
          <a:xfrm>
            <a:off x="132202" y="246094"/>
            <a:ext cx="115962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002060"/>
                </a:solidFill>
                <a:latin typeface="Gotham Narrow Book" pitchFamily="50" charset="0"/>
              </a:rPr>
              <a:t>INDUSTROCLEAN PRO RANGE CHEMICALS</a:t>
            </a:r>
            <a:endParaRPr lang="en-ZA" sz="3200" b="1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207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F3D06EA-2AD6-3940-AAAE-C26B4A5D6DB3}"/>
              </a:ext>
            </a:extLst>
          </p:cNvPr>
          <p:cNvSpPr txBox="1"/>
          <p:nvPr/>
        </p:nvSpPr>
        <p:spPr>
          <a:xfrm>
            <a:off x="4572000" y="393302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EB3DB6-7319-4144-86DB-605A6EF681D3}"/>
              </a:ext>
            </a:extLst>
          </p:cNvPr>
          <p:cNvSpPr txBox="1"/>
          <p:nvPr/>
        </p:nvSpPr>
        <p:spPr>
          <a:xfrm>
            <a:off x="6312665" y="403217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F6FADC8-7FA5-0C41-9045-1A9C9FFEEE23}"/>
              </a:ext>
            </a:extLst>
          </p:cNvPr>
          <p:cNvSpPr txBox="1"/>
          <p:nvPr/>
        </p:nvSpPr>
        <p:spPr>
          <a:xfrm>
            <a:off x="4726236" y="362454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22126F-81CC-8B4E-8E09-291694BB6D9E}"/>
              </a:ext>
            </a:extLst>
          </p:cNvPr>
          <p:cNvSpPr txBox="1"/>
          <p:nvPr/>
        </p:nvSpPr>
        <p:spPr>
          <a:xfrm>
            <a:off x="5442333" y="358048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526DFB-C9EB-C34D-AFCD-F855210171A4}"/>
              </a:ext>
            </a:extLst>
          </p:cNvPr>
          <p:cNvSpPr txBox="1"/>
          <p:nvPr/>
        </p:nvSpPr>
        <p:spPr>
          <a:xfrm>
            <a:off x="4428781" y="306268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0C2CDCF1-0B3A-A24F-9926-D7ACF75BA393}"/>
              </a:ext>
            </a:extLst>
          </p:cNvPr>
          <p:cNvGraphicFramePr>
            <a:graphicFrameLocks noGrp="1"/>
          </p:cNvGraphicFramePr>
          <p:nvPr/>
        </p:nvGraphicFramePr>
        <p:xfrm>
          <a:off x="253705" y="1409452"/>
          <a:ext cx="11723435" cy="49468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0735">
                  <a:extLst>
                    <a:ext uri="{9D8B030D-6E8A-4147-A177-3AD203B41FA5}">
                      <a16:colId xmlns:a16="http://schemas.microsoft.com/office/drawing/2014/main" val="27813815"/>
                    </a:ext>
                  </a:extLst>
                </a:gridCol>
                <a:gridCol w="2039954">
                  <a:extLst>
                    <a:ext uri="{9D8B030D-6E8A-4147-A177-3AD203B41FA5}">
                      <a16:colId xmlns:a16="http://schemas.microsoft.com/office/drawing/2014/main" val="1588388084"/>
                    </a:ext>
                  </a:extLst>
                </a:gridCol>
                <a:gridCol w="3626583">
                  <a:extLst>
                    <a:ext uri="{9D8B030D-6E8A-4147-A177-3AD203B41FA5}">
                      <a16:colId xmlns:a16="http://schemas.microsoft.com/office/drawing/2014/main" val="1608779009"/>
                    </a:ext>
                  </a:extLst>
                </a:gridCol>
                <a:gridCol w="5786163">
                  <a:extLst>
                    <a:ext uri="{9D8B030D-6E8A-4147-A177-3AD203B41FA5}">
                      <a16:colId xmlns:a16="http://schemas.microsoft.com/office/drawing/2014/main" val="2537366127"/>
                    </a:ext>
                  </a:extLst>
                </a:gridCol>
              </a:tblGrid>
              <a:tr h="2780913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P03825</a:t>
                      </a:r>
                      <a:endParaRPr lang="en-ZA" sz="9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 vert="wordArtVert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Pro inox 750g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>
                          <a:solidFill>
                            <a:srgbClr val="002060"/>
                          </a:solidFill>
                          <a:effectLst/>
                        </a:rPr>
                        <a:t>Ready to use abrasive liquid cleaner</a:t>
                      </a:r>
                      <a:endParaRPr lang="en-ZA" sz="1400" b="1" i="0" u="none" strike="noStrike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  <a:t>Ready to use, non-perfumed abrasive liquid cleaner with vigorous cleaning power for gentle removal of adhering dirt</a:t>
                      </a:r>
                      <a:b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  <a:t>Non-scratch and non-corrosive</a:t>
                      </a:r>
                      <a:b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  <a:t>For all waterproof surfaces such as chrome, steel, enamel, ceramics, porcelain, plastics etc in the food processing industry</a:t>
                      </a:r>
                      <a:b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  <a:t>750g</a:t>
                      </a:r>
                      <a:b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</a:br>
                      <a:endParaRPr lang="en-ZA" sz="1400" b="0" i="0" u="none" strike="noStrike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388892"/>
                  </a:ext>
                </a:extLst>
              </a:tr>
              <a:tr h="2165984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P03830</a:t>
                      </a:r>
                      <a:endParaRPr lang="en-ZA" sz="9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 vert="wordArtVert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Pro inox micro 7.5kg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Non-scratch liquid abrasive cleaner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Ready to use, abrasive liquid cleaner with vigorous cleaning power for gentle removal of adhering dirt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Non-scratch and neutral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For all waterproof surfaces such as chrome, steel, enamel, ceramics, porcelain, plastics etc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7.5kg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endParaRPr lang="en-ZA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6486607"/>
                  </a:ext>
                </a:extLst>
              </a:tr>
            </a:tbl>
          </a:graphicData>
        </a:graphic>
      </p:graphicFrame>
      <p:pic>
        <p:nvPicPr>
          <p:cNvPr id="13" name="Picture 12" descr="A white bottle of shampoo&#10;&#10;Description automatically generated with low confidence">
            <a:extLst>
              <a:ext uri="{FF2B5EF4-FFF2-40B4-BE49-F238E27FC236}">
                <a16:creationId xmlns:a16="http://schemas.microsoft.com/office/drawing/2014/main" id="{AA910EB0-2867-E54D-A381-086D15EAEB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056" y="1583314"/>
            <a:ext cx="868390" cy="2448859"/>
          </a:xfrm>
          <a:prstGeom prst="rect">
            <a:avLst/>
          </a:prstGeom>
        </p:spPr>
      </p:pic>
      <p:pic>
        <p:nvPicPr>
          <p:cNvPr id="18" name="Picture 17" descr="Graphical user interface&#10;&#10;Description automatically generated">
            <a:extLst>
              <a:ext uri="{FF2B5EF4-FFF2-40B4-BE49-F238E27FC236}">
                <a16:creationId xmlns:a16="http://schemas.microsoft.com/office/drawing/2014/main" id="{19697B2E-BABC-EB4E-A04A-236F9063F38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773" t="1990" r="3607" b="1990"/>
          <a:stretch/>
        </p:blipFill>
        <p:spPr>
          <a:xfrm>
            <a:off x="526056" y="4535470"/>
            <a:ext cx="1482626" cy="222236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3D4D1F5-F8CF-8048-83AE-48CA817D6DD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9461" y="5545905"/>
            <a:ext cx="2044700" cy="151292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0C7EC6A-8D3A-EF4D-B218-E41326A53D1F}"/>
              </a:ext>
            </a:extLst>
          </p:cNvPr>
          <p:cNvSpPr txBox="1"/>
          <p:nvPr/>
        </p:nvSpPr>
        <p:spPr>
          <a:xfrm>
            <a:off x="132202" y="246094"/>
            <a:ext cx="115962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002060"/>
                </a:solidFill>
                <a:latin typeface="Gotham Narrow Book" pitchFamily="50" charset="0"/>
              </a:rPr>
              <a:t>INDUSTROCLEAN PRO RANGE CHEMICALS</a:t>
            </a:r>
            <a:endParaRPr lang="en-ZA" sz="3200" b="1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168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F3D06EA-2AD6-3940-AAAE-C26B4A5D6DB3}"/>
              </a:ext>
            </a:extLst>
          </p:cNvPr>
          <p:cNvSpPr txBox="1"/>
          <p:nvPr/>
        </p:nvSpPr>
        <p:spPr>
          <a:xfrm>
            <a:off x="4572000" y="393302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EB3DB6-7319-4144-86DB-605A6EF681D3}"/>
              </a:ext>
            </a:extLst>
          </p:cNvPr>
          <p:cNvSpPr txBox="1"/>
          <p:nvPr/>
        </p:nvSpPr>
        <p:spPr>
          <a:xfrm>
            <a:off x="6312665" y="403217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F6FADC8-7FA5-0C41-9045-1A9C9FFEEE23}"/>
              </a:ext>
            </a:extLst>
          </p:cNvPr>
          <p:cNvSpPr txBox="1"/>
          <p:nvPr/>
        </p:nvSpPr>
        <p:spPr>
          <a:xfrm>
            <a:off x="4726236" y="362454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22126F-81CC-8B4E-8E09-291694BB6D9E}"/>
              </a:ext>
            </a:extLst>
          </p:cNvPr>
          <p:cNvSpPr txBox="1"/>
          <p:nvPr/>
        </p:nvSpPr>
        <p:spPr>
          <a:xfrm>
            <a:off x="5442333" y="358048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526DFB-C9EB-C34D-AFCD-F855210171A4}"/>
              </a:ext>
            </a:extLst>
          </p:cNvPr>
          <p:cNvSpPr txBox="1"/>
          <p:nvPr/>
        </p:nvSpPr>
        <p:spPr>
          <a:xfrm>
            <a:off x="4428781" y="306268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23EE54D-E707-CF4F-9868-67CF56683F31}"/>
              </a:ext>
            </a:extLst>
          </p:cNvPr>
          <p:cNvSpPr txBox="1"/>
          <p:nvPr/>
        </p:nvSpPr>
        <p:spPr>
          <a:xfrm>
            <a:off x="5276538" y="380750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8881DCB-B769-AF49-A97B-8CF1BBC64FDF}"/>
              </a:ext>
            </a:extLst>
          </p:cNvPr>
          <p:cNvSpPr txBox="1"/>
          <p:nvPr/>
        </p:nvSpPr>
        <p:spPr>
          <a:xfrm>
            <a:off x="3657600" y="332781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B8EFD7B2-7DB0-E94E-85F6-8766DB202888}"/>
              </a:ext>
            </a:extLst>
          </p:cNvPr>
          <p:cNvGraphicFramePr>
            <a:graphicFrameLocks noGrp="1"/>
          </p:cNvGraphicFramePr>
          <p:nvPr/>
        </p:nvGraphicFramePr>
        <p:xfrm>
          <a:off x="184533" y="1419114"/>
          <a:ext cx="11777617" cy="470521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1985">
                  <a:extLst>
                    <a:ext uri="{9D8B030D-6E8A-4147-A177-3AD203B41FA5}">
                      <a16:colId xmlns:a16="http://schemas.microsoft.com/office/drawing/2014/main" val="1210497161"/>
                    </a:ext>
                  </a:extLst>
                </a:gridCol>
                <a:gridCol w="3276033">
                  <a:extLst>
                    <a:ext uri="{9D8B030D-6E8A-4147-A177-3AD203B41FA5}">
                      <a16:colId xmlns:a16="http://schemas.microsoft.com/office/drawing/2014/main" val="3312280514"/>
                    </a:ext>
                  </a:extLst>
                </a:gridCol>
                <a:gridCol w="3162924">
                  <a:extLst>
                    <a:ext uri="{9D8B030D-6E8A-4147-A177-3AD203B41FA5}">
                      <a16:colId xmlns:a16="http://schemas.microsoft.com/office/drawing/2014/main" val="2335183614"/>
                    </a:ext>
                  </a:extLst>
                </a:gridCol>
                <a:gridCol w="5066675">
                  <a:extLst>
                    <a:ext uri="{9D8B030D-6E8A-4147-A177-3AD203B41FA5}">
                      <a16:colId xmlns:a16="http://schemas.microsoft.com/office/drawing/2014/main" val="1299147867"/>
                    </a:ext>
                  </a:extLst>
                </a:gridCol>
              </a:tblGrid>
              <a:tr h="1144588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06600</a:t>
                      </a:r>
                      <a:endParaRPr lang="en-ZA" sz="9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 vert="wordArtVert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>
                          <a:solidFill>
                            <a:srgbClr val="002060"/>
                          </a:solidFill>
                          <a:effectLst/>
                        </a:rPr>
                        <a:t>Sintol sachet 30g (pack of 50 sachets)</a:t>
                      </a:r>
                      <a:endParaRPr lang="en-ZA" sz="1400" b="1" i="0" u="none" strike="noStrike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Combined disinfectant cleaner and deodoriser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  <a:t>Combined disinfectant Cleaner and deodoriser</a:t>
                      </a:r>
                      <a:b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  <a:t>Based on Sodium Dichloro-s-triazinetrione (DCCNa)</a:t>
                      </a:r>
                      <a:b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  <a:t>For the cleaning, disinfection of all hard non-porous surfaces in hospitals, schools, institutes, gymnastic halls, bathrooms, change rooms, kitchens etc</a:t>
                      </a:r>
                      <a:b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  <a:t>SANS1853: Disinfectants, detergent-disinfectants and antiseptics for use in the food industry</a:t>
                      </a:r>
                      <a:b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  <a:t>30g x (50 units) = 1.5kg</a:t>
                      </a:r>
                      <a:b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>
                          <a:solidFill>
                            <a:srgbClr val="002060"/>
                          </a:solidFill>
                          <a:effectLst/>
                        </a:rPr>
                      </a:br>
                      <a:endParaRPr lang="en-ZA" sz="1400" b="0" i="0" u="none" strike="noStrike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7692387"/>
                  </a:ext>
                </a:extLst>
              </a:tr>
              <a:tr h="1144588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06610</a:t>
                      </a:r>
                      <a:endParaRPr lang="en-ZA" sz="9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 vert="wordArtVert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 err="1">
                          <a:solidFill>
                            <a:srgbClr val="002060"/>
                          </a:solidFill>
                          <a:effectLst/>
                        </a:rPr>
                        <a:t>Sintol</a:t>
                      </a:r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 sachet 6g (pack of 100 sachets)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Combined disinfectant cleaner and deodoriser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Combined disinfectant Cleaner and deodoriser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Based on Sodium Dichloro-s-</a:t>
                      </a:r>
                      <a:r>
                        <a:rPr lang="en-ZA" sz="1400" u="none" strike="noStrike" dirty="0" err="1">
                          <a:solidFill>
                            <a:srgbClr val="002060"/>
                          </a:solidFill>
                          <a:effectLst/>
                        </a:rPr>
                        <a:t>triazinetrione</a:t>
                      </a: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 (</a:t>
                      </a:r>
                      <a:r>
                        <a:rPr lang="en-ZA" sz="1400" u="none" strike="noStrike" dirty="0" err="1">
                          <a:solidFill>
                            <a:srgbClr val="002060"/>
                          </a:solidFill>
                          <a:effectLst/>
                        </a:rPr>
                        <a:t>DCCNa</a:t>
                      </a: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)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For the cleaning, disinfection of all hard non-porous surfaces in hospitals, schools, institutes, gymnastic halls, bathrooms, change rooms, kitchens etc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SANS1853: Disinfectants, detergent-disinfectants and antiseptics for use in the food industry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6g x (100 units) = 600g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endParaRPr lang="en-ZA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49" marR="5649" marT="5649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078679"/>
                  </a:ext>
                </a:extLst>
              </a:tr>
            </a:tbl>
          </a:graphicData>
        </a:graphic>
      </p:graphicFrame>
      <p:pic>
        <p:nvPicPr>
          <p:cNvPr id="16" name="Picture 15" descr="Text, letter&#10;&#10;Description automatically generated">
            <a:extLst>
              <a:ext uri="{FF2B5EF4-FFF2-40B4-BE49-F238E27FC236}">
                <a16:creationId xmlns:a16="http://schemas.microsoft.com/office/drawing/2014/main" id="{E59AFD02-884C-A740-8EF4-923B86EF0B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611" y="4302354"/>
            <a:ext cx="1655086" cy="1558539"/>
          </a:xfrm>
          <a:prstGeom prst="rect">
            <a:avLst/>
          </a:prstGeom>
        </p:spPr>
      </p:pic>
      <p:pic>
        <p:nvPicPr>
          <p:cNvPr id="18" name="Picture 17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53518EC7-0B3D-5D42-99E3-9A9B94617E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1466" y="1795454"/>
            <a:ext cx="2343323" cy="1267235"/>
          </a:xfrm>
          <a:prstGeom prst="rect">
            <a:avLst/>
          </a:prstGeom>
        </p:spPr>
      </p:pic>
      <p:pic>
        <p:nvPicPr>
          <p:cNvPr id="20" name="Picture 19" descr="A white bottle of shampoo&#10;&#10;Description automatically generated with low confidence">
            <a:extLst>
              <a:ext uri="{FF2B5EF4-FFF2-40B4-BE49-F238E27FC236}">
                <a16:creationId xmlns:a16="http://schemas.microsoft.com/office/drawing/2014/main" id="{5CED385E-F7FD-9B44-A0F0-848A7351A9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77710" y="1693889"/>
            <a:ext cx="910080" cy="188747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D4F6F77-4595-9448-8B35-CED3E24E8A4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9461" y="5545905"/>
            <a:ext cx="2044700" cy="151292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8555F94-8067-FE4C-A36B-C4776EB7D2D5}"/>
              </a:ext>
            </a:extLst>
          </p:cNvPr>
          <p:cNvSpPr txBox="1"/>
          <p:nvPr/>
        </p:nvSpPr>
        <p:spPr>
          <a:xfrm>
            <a:off x="132202" y="246094"/>
            <a:ext cx="115962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002060"/>
                </a:solidFill>
                <a:latin typeface="Gotham Narrow Book" pitchFamily="50" charset="0"/>
              </a:rPr>
              <a:t>INDUSTROCLEAN PRO RANGE CHEMICALS</a:t>
            </a:r>
            <a:endParaRPr lang="en-ZA" sz="3200" b="1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6150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1100" dirty="0">
                <a:latin typeface="Helvetica" pitchFamily="2" charset="0"/>
              </a:rPr>
              <a:t>COMPAN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0" y="6356350"/>
            <a:ext cx="774700" cy="365125"/>
          </a:xfrm>
        </p:spPr>
        <p:txBody>
          <a:bodyPr/>
          <a:lstStyle/>
          <a:p>
            <a:r>
              <a:rPr lang="en-US" sz="1100" dirty="0">
                <a:latin typeface="Helvetica" pitchFamily="2" charset="0"/>
              </a:rPr>
              <a:t>Page </a:t>
            </a:r>
            <a:fld id="{6C385236-B7BA-4938-9EA6-6DEC8CA653D7}" type="slidenum">
              <a:rPr lang="en-US" sz="1100" smtClean="0">
                <a:latin typeface="Helvetica" pitchFamily="2" charset="0"/>
              </a:rPr>
              <a:pPr/>
              <a:t>3</a:t>
            </a:fld>
            <a:endParaRPr lang="en-US" sz="1100" dirty="0">
              <a:latin typeface="Helvetica" pitchFamily="2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652D415-5159-F34A-8392-942AD43B67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000" y="136525"/>
            <a:ext cx="11595100" cy="1108075"/>
          </a:xfrm>
        </p:spPr>
        <p:txBody>
          <a:bodyPr>
            <a:normAutofit/>
          </a:bodyPr>
          <a:lstStyle/>
          <a:p>
            <a:r>
              <a:rPr lang="en-US" sz="3200" b="1" i="0" u="none" strike="noStrike" baseline="0" dirty="0">
                <a:solidFill>
                  <a:srgbClr val="002060"/>
                </a:solidFill>
                <a:latin typeface="+mn-lt"/>
              </a:rPr>
              <a:t>THE RISK </a:t>
            </a:r>
            <a:r>
              <a:rPr lang="en-US" sz="3200" b="1" dirty="0">
                <a:solidFill>
                  <a:srgbClr val="002060"/>
                </a:solidFill>
                <a:latin typeface="+mn-lt"/>
              </a:rPr>
              <a:t>FACTOR IS BASED ON</a:t>
            </a:r>
            <a:r>
              <a:rPr lang="en-US" sz="3200" b="1" i="0" u="none" strike="noStrike" baseline="0" dirty="0">
                <a:solidFill>
                  <a:srgbClr val="002060"/>
                </a:solidFill>
                <a:latin typeface="+mn-lt"/>
              </a:rPr>
              <a:t>: </a:t>
            </a:r>
            <a:r>
              <a:rPr lang="en-US" sz="2800" b="1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/>
            </a:r>
            <a:br>
              <a:rPr lang="en-US" sz="2800" b="1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</a:br>
            <a:endParaRPr lang="en-US" sz="2600" b="1" dirty="0">
              <a:solidFill>
                <a:schemeClr val="tx1">
                  <a:lumMod val="65000"/>
                  <a:lumOff val="35000"/>
                </a:schemeClr>
              </a:solidFill>
              <a:latin typeface="Helvetica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22CE0D-33A1-964C-B4F8-2C8F344D1A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47300" y="5477648"/>
            <a:ext cx="2044700" cy="151292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D1F7896-1BE1-CD4E-957F-CBF12C68148F}"/>
              </a:ext>
            </a:extLst>
          </p:cNvPr>
          <p:cNvSpPr txBox="1">
            <a:spLocks/>
          </p:cNvSpPr>
          <p:nvPr/>
        </p:nvSpPr>
        <p:spPr>
          <a:xfrm>
            <a:off x="359999" y="1346731"/>
            <a:ext cx="11470051" cy="44635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Helvetica" pitchFamily="2" charset="0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C6A7270-76C0-4140-9162-CDFE4D7022D8}"/>
              </a:ext>
            </a:extLst>
          </p:cNvPr>
          <p:cNvSpPr txBox="1">
            <a:spLocks/>
          </p:cNvSpPr>
          <p:nvPr/>
        </p:nvSpPr>
        <p:spPr>
          <a:xfrm>
            <a:off x="512399" y="1499131"/>
            <a:ext cx="11470051" cy="44635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Helvetica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46290F-439F-427E-8D0C-BEE9F1A8B322}"/>
              </a:ext>
            </a:extLst>
          </p:cNvPr>
          <p:cNvSpPr txBox="1"/>
          <p:nvPr/>
        </p:nvSpPr>
        <p:spPr>
          <a:xfrm>
            <a:off x="302849" y="1105431"/>
            <a:ext cx="11167202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r>
              <a:rPr lang="en-US" sz="2000" i="0" u="none" strike="noStrike" baseline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environment and the probability of contamination 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sz="2000" i="0" u="none" strike="noStrike" baseline="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i="0" u="none" strike="noStrike" baseline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patient immune system and their vulnerability to infection </a:t>
            </a:r>
          </a:p>
          <a:p>
            <a:endParaRPr lang="en-US" sz="2000" i="0" u="none" strike="noStrike" baseline="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i="0" u="none" strike="noStrike" baseline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eatment and the potential for exposure </a:t>
            </a:r>
          </a:p>
          <a:p>
            <a:endParaRPr lang="en-ZA" sz="2000" b="0" i="0" u="none" strike="noStrike" baseline="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0" i="0" u="none" strike="noStrike" baseline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determination of environmental cleaning procedures for individual patient care areas, including frequency, method, and procedure, should be based on the risk of pathogen transmission. </a:t>
            </a:r>
          </a:p>
          <a:p>
            <a:endParaRPr lang="en-US" sz="2000" b="0" i="0" u="none" strike="noStrike" baseline="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i="0" u="none" strike="noStrike" baseline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 general, the higher the RISK factor of an area the more frequently cleaning needs to occur. </a:t>
            </a:r>
            <a:endParaRPr lang="en-ZA" sz="2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5598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13712" y="214139"/>
            <a:ext cx="1173128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3200" b="1" dirty="0">
                <a:solidFill>
                  <a:srgbClr val="002060"/>
                </a:solidFill>
                <a:latin typeface="Calibri" panose="020F0502020204030204" pitchFamily="34" charset="0"/>
              </a:rPr>
              <a:t>POINTS ON DISINFECTANT</a:t>
            </a:r>
            <a:br>
              <a:rPr lang="en-ZA" sz="3200" b="1" dirty="0">
                <a:solidFill>
                  <a:srgbClr val="002060"/>
                </a:solidFill>
                <a:latin typeface="Calibri" panose="020F0502020204030204" pitchFamily="34" charset="0"/>
              </a:rPr>
            </a:br>
            <a:endParaRPr lang="en-ZA" b="1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0A3A3E-CDC9-F045-9EC6-7FBFB7F30AFD}"/>
              </a:ext>
            </a:extLst>
          </p:cNvPr>
          <p:cNvSpPr txBox="1"/>
          <p:nvPr/>
        </p:nvSpPr>
        <p:spPr>
          <a:xfrm>
            <a:off x="220979" y="977439"/>
            <a:ext cx="939721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rgbClr val="002060"/>
                </a:solidFill>
              </a:rPr>
              <a:t>Dilution rates for the application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rgbClr val="002060"/>
                </a:solidFill>
              </a:rPr>
              <a:t>Contact time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rgbClr val="002060"/>
                </a:solidFill>
              </a:rPr>
              <a:t>Dilution age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rgbClr val="002060"/>
                </a:solidFill>
              </a:rPr>
              <a:t>Clean before disinfection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rgbClr val="002060"/>
                </a:solidFill>
              </a:rPr>
              <a:t>When Needed</a:t>
            </a:r>
          </a:p>
        </p:txBody>
      </p:sp>
    </p:spTree>
    <p:extLst>
      <p:ext uri="{BB962C8B-B14F-4D97-AF65-F5344CB8AC3E}">
        <p14:creationId xmlns:p14="http://schemas.microsoft.com/office/powerpoint/2010/main" val="37290112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6">
            <a:extLst>
              <a:ext uri="{FF2B5EF4-FFF2-40B4-BE49-F238E27FC236}">
                <a16:creationId xmlns:a16="http://schemas.microsoft.com/office/drawing/2014/main" id="{7042C5CB-CAF2-C982-916C-375DABF6664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085821" cy="1266986"/>
          </a:xfrm>
          <a:prstGeom prst="rect">
            <a:avLst/>
          </a:prstGeom>
          <a:solidFill>
            <a:srgbClr val="1B345E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DE5524"/>
                </a:solidFill>
                <a:effectLst/>
                <a:uLnTx/>
                <a:uFillTx/>
                <a:latin typeface="Avenir Book" panose="02000503020000020003" pitchFamily="2" charset="0"/>
                <a:ea typeface="+mj-ea"/>
                <a:cs typeface="Gotham" pitchFamily="2" charset="0"/>
              </a:rPr>
              <a:t>Disinfectant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Book" panose="02000503020000020003" pitchFamily="2" charset="0"/>
              <a:ea typeface="+mj-ea"/>
              <a:cs typeface="Gotham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99DC75C-C439-6D4E-942A-37D69943CB47}"/>
              </a:ext>
            </a:extLst>
          </p:cNvPr>
          <p:cNvSpPr txBox="1"/>
          <p:nvPr/>
        </p:nvSpPr>
        <p:spPr>
          <a:xfrm>
            <a:off x="2261286" y="206357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FA7D478-32C6-6D6A-8AA9-E1BAF41DC902}"/>
              </a:ext>
            </a:extLst>
          </p:cNvPr>
          <p:cNvSpPr txBox="1"/>
          <p:nvPr/>
        </p:nvSpPr>
        <p:spPr>
          <a:xfrm>
            <a:off x="201291" y="1408964"/>
            <a:ext cx="6794695" cy="5592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+mn-cs"/>
              </a:rPr>
              <a:t>All disinfectants should be NRCS registered by law. Log 5 level for Healthcare and food environments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venir Book" panose="02000503020000020003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+mn-cs"/>
              </a:rPr>
              <a:t>Disinfection cannot take place unless proper cleaning has been carried out </a:t>
            </a:r>
            <a:r>
              <a:rPr kumimoji="0" lang="en-ZA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+mn-cs"/>
              </a:rPr>
              <a:t>ie</a:t>
            </a: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+mn-cs"/>
              </a:rPr>
              <a:t>. you cannot disinfect dirt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venir Book" panose="02000503020000020003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+mn-cs"/>
              </a:rPr>
              <a:t>It is critical that the correct PPM is used. This should be clear on the manufacturer’s instructions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venir Book" panose="02000503020000020003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+mn-cs"/>
              </a:rPr>
              <a:t>Chlorine is sensitive to elements such as light and temperature and must be discarded within 24hours of being mixed. Containers should be marked with date and time of mixing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venir Book" panose="02000503020000020003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+mn-cs"/>
              </a:rPr>
              <a:t>In general, disinfection is often used as a “substitute” for good cleaning practices. The first step in the cleaning process is critical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1505244-B9FB-F9C8-7212-2B95ACA8737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6904" y="2094574"/>
            <a:ext cx="4386943" cy="3425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28204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13712" y="256342"/>
            <a:ext cx="11731285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3200" b="1" dirty="0">
                <a:solidFill>
                  <a:srgbClr val="002060"/>
                </a:solidFill>
                <a:latin typeface="Calibri" panose="020F0502020204030204" pitchFamily="34" charset="0"/>
              </a:rPr>
              <a:t>CHICOPEE LAVETTE </a:t>
            </a:r>
          </a:p>
          <a:p>
            <a:r>
              <a:rPr lang="en-ZA" sz="3200" b="1" dirty="0">
                <a:solidFill>
                  <a:srgbClr val="002060"/>
                </a:solidFill>
                <a:latin typeface="Calibri" panose="020F0502020204030204" pitchFamily="34" charset="0"/>
              </a:rPr>
              <a:t/>
            </a:r>
            <a:br>
              <a:rPr lang="en-ZA" sz="3200" b="1" dirty="0">
                <a:solidFill>
                  <a:srgbClr val="002060"/>
                </a:solidFill>
                <a:latin typeface="Calibri" panose="020F0502020204030204" pitchFamily="34" charset="0"/>
              </a:rPr>
            </a:br>
            <a:r>
              <a:rPr lang="en-ZA" b="1" dirty="0">
                <a:solidFill>
                  <a:srgbClr val="002060"/>
                </a:solidFill>
                <a:latin typeface="Calibri" panose="020F0502020204030204" pitchFamily="34" charset="0"/>
              </a:rPr>
              <a:t>Strong and durable multipurpose cloths that can be washed and re-use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E0EAE6-3CBF-9042-AF6F-0BAD08AAE9D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84051" y="2180492"/>
            <a:ext cx="4889315" cy="458886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C0A3A3E-CDC9-F045-9EC6-7FBFB7F30AFD}"/>
              </a:ext>
            </a:extLst>
          </p:cNvPr>
          <p:cNvSpPr txBox="1"/>
          <p:nvPr/>
        </p:nvSpPr>
        <p:spPr>
          <a:xfrm>
            <a:off x="218634" y="1610559"/>
            <a:ext cx="939721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rgbClr val="002060"/>
                </a:solidFill>
              </a:rPr>
              <a:t>Easy to rinse, so that the cloth stays clean and fresh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rgbClr val="002060"/>
                </a:solidFill>
              </a:rPr>
              <a:t>Unique open weave of the cloth, ensure perfect absorption of dirt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rgbClr val="002060"/>
                </a:solidFill>
              </a:rPr>
              <a:t>The cloths dry quickly, giving bacteria less opportunity to accumulate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rgbClr val="002060"/>
                </a:solidFill>
              </a:rPr>
              <a:t>The rough structure of the cloth ensures optimal cleaning of all surfaces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rgbClr val="002060"/>
                </a:solidFill>
              </a:rPr>
              <a:t>Ideal for applications in varying industries such as healthcare, hospitality etc.</a:t>
            </a:r>
          </a:p>
        </p:txBody>
      </p:sp>
    </p:spTree>
    <p:extLst>
      <p:ext uri="{BB962C8B-B14F-4D97-AF65-F5344CB8AC3E}">
        <p14:creationId xmlns:p14="http://schemas.microsoft.com/office/powerpoint/2010/main" val="80545862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9644" y="115665"/>
            <a:ext cx="11731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3200" b="1" dirty="0">
                <a:solidFill>
                  <a:srgbClr val="002060"/>
                </a:solidFill>
                <a:latin typeface="Calibri" panose="020F0502020204030204" pitchFamily="34" charset="0"/>
              </a:rPr>
              <a:t>WET CLEANING VERSES DRY CLEAN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0A3A3E-CDC9-F045-9EC6-7FBFB7F30AFD}"/>
              </a:ext>
            </a:extLst>
          </p:cNvPr>
          <p:cNvSpPr txBox="1"/>
          <p:nvPr/>
        </p:nvSpPr>
        <p:spPr>
          <a:xfrm>
            <a:off x="206911" y="822694"/>
            <a:ext cx="11624017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2060"/>
                </a:solidFill>
              </a:rPr>
              <a:t>DO NOT UNDER ESTIMATE DUST: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80% of all dirt in buildings is dust</a:t>
            </a:r>
          </a:p>
          <a:p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Nearly all known micro organisms can be found in dust and find it nutritious</a:t>
            </a:r>
          </a:p>
          <a:p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Dust is whirled up by air movement and spread bacteria around</a:t>
            </a:r>
          </a:p>
          <a:p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Dust can seriously harm peoples health [Asthma ,Bronchitis ,Allergies] or can cause dangerous infections [MRSA]</a:t>
            </a:r>
          </a:p>
          <a:p>
            <a:endParaRPr lang="en-US" sz="2000" b="1" dirty="0">
              <a:solidFill>
                <a:srgbClr val="002060"/>
              </a:solidFill>
            </a:endParaRPr>
          </a:p>
          <a:p>
            <a:r>
              <a:rPr lang="en-US" sz="2000" b="1" dirty="0">
                <a:solidFill>
                  <a:srgbClr val="002060"/>
                </a:solidFill>
              </a:rPr>
              <a:t>Clear facts about clean floors:</a:t>
            </a:r>
          </a:p>
          <a:p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Micro organisms are not visible to naked eye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Micro organisms need warmth ,moisture and nutrition 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Moist floors favourably stimulate growth of micro organisms</a:t>
            </a:r>
          </a:p>
        </p:txBody>
      </p:sp>
    </p:spTree>
    <p:extLst>
      <p:ext uri="{BB962C8B-B14F-4D97-AF65-F5344CB8AC3E}">
        <p14:creationId xmlns:p14="http://schemas.microsoft.com/office/powerpoint/2010/main" val="216205336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17109" y="312613"/>
            <a:ext cx="41540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3200" b="1" dirty="0">
                <a:solidFill>
                  <a:srgbClr val="002060"/>
                </a:solidFill>
                <a:latin typeface="Calibri" panose="020F0502020204030204" pitchFamily="34" charset="0"/>
              </a:rPr>
              <a:t>CLOTHS </a:t>
            </a:r>
            <a:endParaRPr lang="en-ZA" b="1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0A3A3E-CDC9-F045-9EC6-7FBFB7F30AFD}"/>
              </a:ext>
            </a:extLst>
          </p:cNvPr>
          <p:cNvSpPr txBox="1"/>
          <p:nvPr/>
        </p:nvSpPr>
        <p:spPr>
          <a:xfrm>
            <a:off x="317109" y="780492"/>
            <a:ext cx="10449952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endParaRPr lang="en-US" b="1" dirty="0">
              <a:solidFill>
                <a:srgbClr val="002060"/>
              </a:solidFill>
            </a:endParaRPr>
          </a:p>
          <a:p>
            <a:r>
              <a:rPr lang="en-US" b="1" dirty="0">
                <a:solidFill>
                  <a:srgbClr val="002060"/>
                </a:solidFill>
              </a:rPr>
              <a:t>What is Masslinn:</a:t>
            </a:r>
            <a:endParaRPr lang="en-US" dirty="0">
              <a:solidFill>
                <a:srgbClr val="002060"/>
              </a:solidFill>
            </a:endParaRPr>
          </a:p>
          <a:p>
            <a:endParaRPr lang="en-US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rgbClr val="002060"/>
                </a:solidFill>
              </a:rPr>
              <a:t>Masslinn is the sweeping with a disposable impregnated cloth.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rgbClr val="002060"/>
                </a:solidFill>
              </a:rPr>
              <a:t>Dust control is the main objective when cleaning various environments – floors are the largest horizontal surface and collect considerable amounts of dust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rgbClr val="002060"/>
                </a:solidFill>
              </a:rPr>
              <a:t>Dust sweeping with the impregnated disposable cloths is most effective and rational method for removing dust from all smooth floor surfaces. 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rgbClr val="002060"/>
                </a:solidFill>
              </a:rPr>
              <a:t>Dirt is bound without any whirling up and kept in the cloth thanks to the dust binding properties of the chemical impregnation of the cloths. 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endParaRPr lang="en-US" dirty="0">
              <a:solidFill>
                <a:srgbClr val="002060"/>
              </a:solidFill>
            </a:endParaRPr>
          </a:p>
          <a:p>
            <a:endParaRPr lang="en-US" dirty="0">
              <a:solidFill>
                <a:srgbClr val="002060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911B747-87E7-6346-983A-31B7C0BCF61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29932" y="4792365"/>
            <a:ext cx="2959170" cy="1956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32164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17109" y="312613"/>
            <a:ext cx="41540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3200" b="1" dirty="0">
                <a:solidFill>
                  <a:srgbClr val="002060"/>
                </a:solidFill>
                <a:latin typeface="Calibri" panose="020F0502020204030204" pitchFamily="34" charset="0"/>
              </a:rPr>
              <a:t>CLOTHS </a:t>
            </a:r>
            <a:endParaRPr lang="en-ZA" b="1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0A3A3E-CDC9-F045-9EC6-7FBFB7F30AFD}"/>
              </a:ext>
            </a:extLst>
          </p:cNvPr>
          <p:cNvSpPr txBox="1"/>
          <p:nvPr/>
        </p:nvSpPr>
        <p:spPr>
          <a:xfrm>
            <a:off x="424374" y="1075913"/>
            <a:ext cx="10449952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Advantages of using Masslinn:</a:t>
            </a:r>
          </a:p>
          <a:p>
            <a:endParaRPr lang="en-US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rgbClr val="002060"/>
                </a:solidFill>
              </a:rPr>
              <a:t>30% - 40% time saving compared to traditional cleaning methods 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rgbClr val="002060"/>
                </a:solidFill>
              </a:rPr>
              <a:t>Optimal cleanliness through efficient dust removal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rgbClr val="002060"/>
                </a:solidFill>
              </a:rPr>
              <a:t>Danger of cross-contamination greatly reduces (one-room disposable cloths)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rgbClr val="002060"/>
                </a:solidFill>
              </a:rPr>
              <a:t>No airborne dust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rgbClr val="002060"/>
                </a:solidFill>
              </a:rPr>
              <a:t>Dry method” ensures that ideal conditions for bacterial growth are not creat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911B747-87E7-6346-983A-31B7C0BCF61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02554" y="4065563"/>
            <a:ext cx="3845871" cy="2542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40098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9644" y="115665"/>
            <a:ext cx="11731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3200" b="1" dirty="0">
                <a:solidFill>
                  <a:srgbClr val="002060"/>
                </a:solidFill>
                <a:latin typeface="Calibri" panose="020F0502020204030204" pitchFamily="34" charset="0"/>
              </a:rPr>
              <a:t>FLOORS STEPS – 3 TYPES OF DIRT TO COLLECT AND CONTAIN</a:t>
            </a:r>
            <a:endParaRPr lang="en-ZA" b="1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0A3A3E-CDC9-F045-9EC6-7FBFB7F30AFD}"/>
              </a:ext>
            </a:extLst>
          </p:cNvPr>
          <p:cNvSpPr txBox="1"/>
          <p:nvPr/>
        </p:nvSpPr>
        <p:spPr>
          <a:xfrm>
            <a:off x="220979" y="977439"/>
            <a:ext cx="1014691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Dry – Dust sweep – Masslinn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Sticky or Wet Dirt – Spot Mop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Scuffs &amp; Scratches – Buff or Burnish[ Most visual yet least health impact. [Emotional dirt]</a:t>
            </a:r>
          </a:p>
        </p:txBody>
      </p:sp>
    </p:spTree>
    <p:extLst>
      <p:ext uri="{BB962C8B-B14F-4D97-AF65-F5344CB8AC3E}">
        <p14:creationId xmlns:p14="http://schemas.microsoft.com/office/powerpoint/2010/main" val="57867659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115665"/>
            <a:ext cx="11731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3200" b="1" dirty="0">
                <a:solidFill>
                  <a:srgbClr val="002060"/>
                </a:solidFill>
                <a:latin typeface="Calibri" panose="020F0502020204030204" pitchFamily="34" charset="0"/>
              </a:rPr>
              <a:t>MOPPING</a:t>
            </a:r>
            <a:endParaRPr lang="en-ZA" b="1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0A3A3E-CDC9-F045-9EC6-7FBFB7F30AFD}"/>
              </a:ext>
            </a:extLst>
          </p:cNvPr>
          <p:cNvSpPr txBox="1"/>
          <p:nvPr/>
        </p:nvSpPr>
        <p:spPr>
          <a:xfrm>
            <a:off x="249115" y="864898"/>
            <a:ext cx="9397218" cy="5601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Damp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Maintenance cleaning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Spotting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Does not disturb traffic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 err="1">
                <a:solidFill>
                  <a:srgbClr val="002060"/>
                </a:solidFill>
              </a:rPr>
              <a:t>Microfibre</a:t>
            </a:r>
            <a:r>
              <a:rPr lang="en-US" sz="2000" dirty="0">
                <a:solidFill>
                  <a:srgbClr val="002060"/>
                </a:solidFill>
              </a:rPr>
              <a:t>/disposable</a:t>
            </a:r>
          </a:p>
          <a:p>
            <a:endParaRPr lang="en-US" sz="2000" dirty="0">
              <a:solidFill>
                <a:srgbClr val="002060"/>
              </a:solidFill>
            </a:endParaRPr>
          </a:p>
          <a:p>
            <a:endParaRPr lang="en-US" sz="2000" dirty="0">
              <a:solidFill>
                <a:srgbClr val="002060"/>
              </a:solidFill>
            </a:endParaRPr>
          </a:p>
          <a:p>
            <a:r>
              <a:rPr lang="en-US" sz="2000" b="1" dirty="0">
                <a:solidFill>
                  <a:srgbClr val="002060"/>
                </a:solidFill>
              </a:rPr>
              <a:t>Wet</a:t>
            </a:r>
          </a:p>
          <a:p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Full floor – deep cleaning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No traffic – safety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Double bucke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8A98E0-945C-6D4B-9E62-1B38B4C5A36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4510" y="864898"/>
            <a:ext cx="3492891" cy="523933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36E9EA8-9363-EC44-AD5B-D4378D0B7D6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0159" y="1350499"/>
            <a:ext cx="3666198" cy="464260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F31D12E-3D46-5B4E-BA59-B63915ABA33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4999" y="4111571"/>
            <a:ext cx="1371600" cy="226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1373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5074276" y="6356350"/>
            <a:ext cx="2235603" cy="365125"/>
          </a:xfrm>
        </p:spPr>
        <p:txBody>
          <a:bodyPr/>
          <a:lstStyle/>
          <a:p>
            <a:r>
              <a:rPr lang="en-US" noProof="0" dirty="0"/>
              <a:t>COMPANY CONFIDENTIA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D4A047E-064A-4BC4-83AE-51D8B954BCB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3538" y="457838175"/>
            <a:ext cx="2049462" cy="3200400"/>
          </a:xfrm>
          <a:prstGeom prst="rect">
            <a:avLst/>
          </a:prstGeom>
        </p:spPr>
      </p:pic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559E775-6660-FE46-ACC2-A9E6B79789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7680800"/>
              </p:ext>
            </p:extLst>
          </p:nvPr>
        </p:nvGraphicFramePr>
        <p:xfrm>
          <a:off x="57191" y="970671"/>
          <a:ext cx="12085821" cy="53316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2720">
                  <a:extLst>
                    <a:ext uri="{9D8B030D-6E8A-4147-A177-3AD203B41FA5}">
                      <a16:colId xmlns:a16="http://schemas.microsoft.com/office/drawing/2014/main" val="50448183"/>
                    </a:ext>
                  </a:extLst>
                </a:gridCol>
                <a:gridCol w="2507184">
                  <a:extLst>
                    <a:ext uri="{9D8B030D-6E8A-4147-A177-3AD203B41FA5}">
                      <a16:colId xmlns:a16="http://schemas.microsoft.com/office/drawing/2014/main" val="3747897486"/>
                    </a:ext>
                  </a:extLst>
                </a:gridCol>
                <a:gridCol w="2801126">
                  <a:extLst>
                    <a:ext uri="{9D8B030D-6E8A-4147-A177-3AD203B41FA5}">
                      <a16:colId xmlns:a16="http://schemas.microsoft.com/office/drawing/2014/main" val="500916883"/>
                    </a:ext>
                  </a:extLst>
                </a:gridCol>
                <a:gridCol w="6204791">
                  <a:extLst>
                    <a:ext uri="{9D8B030D-6E8A-4147-A177-3AD203B41FA5}">
                      <a16:colId xmlns:a16="http://schemas.microsoft.com/office/drawing/2014/main" val="91489617"/>
                    </a:ext>
                  </a:extLst>
                </a:gridCol>
              </a:tblGrid>
              <a:tr h="5331663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50000301</a:t>
                      </a:r>
                      <a:endParaRPr lang="en-ZA" sz="9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vert="wordArtVert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solidFill>
                            <a:srgbClr val="C00000"/>
                          </a:solidFill>
                          <a:effectLst/>
                        </a:rPr>
                        <a:t>VIPER DS350-EU 17IN DUAL SPEED SD 175/350RPM </a:t>
                      </a:r>
                      <a:r>
                        <a:rPr lang="en-ZA" sz="1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(Includes Brush, Pad Drive &amp; Solution Tank)</a:t>
                      </a:r>
                      <a:endParaRPr lang="en-ZA" sz="1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Motor Power Source: Electric</a:t>
                      </a:r>
                      <a:b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Brush/Pad Speed (RPM): 175/350 </a:t>
                      </a:r>
                      <a:b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Cable length (M): 10</a:t>
                      </a:r>
                      <a:b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Cleaning Width (mm): 432mm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Ideal dual-speed single disc for a variety of professional cleaning tasks</a:t>
                      </a: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Simple to use and efficient dual speed single disc machine. 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DS350 is the perfect solution for hard floor scrubbing and for heavy duty cleaning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Ideally suited for daily indoor cleaning of hotels, restaurants, schools, shopping malls, exhibition centres, as well as schools and government institutions.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Viper DS350 is a versatile dual-speed single disc machine designed for or different kinds of professional cleaning tasks. 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For scrubbing, spray cleaning and buffering tasks. 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Operation is simple and easy to use controls. 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The Viper DS350 single disc is robust, reliable and service friendly, with the ergonomic design, you can easily scrub, clean and buffer floors. 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The machine is ready to use, water tank, brush and pad holder come with the machine. 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You can also choose the optional foam generator and carpet brush. 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Simple and user-friendly. The machine is automatically locked off when the handle is in 90 degree vertical position. 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Soft start system and automatic brush installation. 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The aluminium base and low noise thanks to belt driven motor.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Large rear wheels facilitates transport and makes a well-balanced machine.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Water tank, brush and pad holder comes with the dual speed machine. 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The dual speed single disc offers a choice of 175 or 350 rpm for easy, efficient and cost-effective maintenance of all floors</a:t>
                      </a:r>
                      <a:endParaRPr lang="en-ZA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817201"/>
                  </a:ext>
                </a:extLst>
              </a:tr>
            </a:tbl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FCB85B48-3833-459C-9869-D4F65B2A8C2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2175" y="462646713"/>
            <a:ext cx="3997325" cy="3930650"/>
          </a:xfrm>
          <a:prstGeom prst="rect">
            <a:avLst/>
          </a:prstGeom>
        </p:spPr>
      </p:pic>
      <p:pic>
        <p:nvPicPr>
          <p:cNvPr id="12" name="Picture 11" descr="A picture containing indoor, black&#10;&#10;Description automatically generated">
            <a:extLst>
              <a:ext uri="{FF2B5EF4-FFF2-40B4-BE49-F238E27FC236}">
                <a16:creationId xmlns:a16="http://schemas.microsoft.com/office/drawing/2014/main" id="{67CFD7F5-EA30-AC41-860A-D52E37E906D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902"/>
          <a:stretch/>
        </p:blipFill>
        <p:spPr>
          <a:xfrm>
            <a:off x="992393" y="2385408"/>
            <a:ext cx="1911145" cy="290378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2796352-C60E-844E-B9C6-052837AD45FD}"/>
              </a:ext>
            </a:extLst>
          </p:cNvPr>
          <p:cNvSpPr txBox="1"/>
          <p:nvPr/>
        </p:nvSpPr>
        <p:spPr>
          <a:xfrm>
            <a:off x="132202" y="246094"/>
            <a:ext cx="115962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3200" b="1" dirty="0">
                <a:solidFill>
                  <a:srgbClr val="002060"/>
                </a:solidFill>
                <a:latin typeface="Calibri" panose="020F0502020204030204" pitchFamily="34" charset="0"/>
              </a:rPr>
              <a:t>VIPER DS350 DUAL SPEED SINGLE DISC MACHINE</a:t>
            </a:r>
          </a:p>
        </p:txBody>
      </p:sp>
    </p:spTree>
    <p:extLst>
      <p:ext uri="{BB962C8B-B14F-4D97-AF65-F5344CB8AC3E}">
        <p14:creationId xmlns:p14="http://schemas.microsoft.com/office/powerpoint/2010/main" val="615158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5074276" y="6356350"/>
            <a:ext cx="2235603" cy="365125"/>
          </a:xfrm>
        </p:spPr>
        <p:txBody>
          <a:bodyPr/>
          <a:lstStyle/>
          <a:p>
            <a:r>
              <a:rPr lang="en-US" noProof="0" dirty="0"/>
              <a:t>COMPANY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39</a:t>
            </a:fld>
            <a:endParaRPr lang="en-US" noProof="0" dirty="0"/>
          </a:p>
        </p:txBody>
      </p:sp>
      <p:sp>
        <p:nvSpPr>
          <p:cNvPr id="35" name="Title 6">
            <a:extLst>
              <a:ext uri="{FF2B5EF4-FFF2-40B4-BE49-F238E27FC236}">
                <a16:creationId xmlns:a16="http://schemas.microsoft.com/office/drawing/2014/main" id="{029C9342-9220-A44E-85F7-59A507D61FD5}"/>
              </a:ext>
            </a:extLst>
          </p:cNvPr>
          <p:cNvSpPr txBox="1">
            <a:spLocks/>
          </p:cNvSpPr>
          <p:nvPr/>
        </p:nvSpPr>
        <p:spPr>
          <a:xfrm>
            <a:off x="253707" y="2566"/>
            <a:ext cx="11595100" cy="1108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solidFill>
                  <a:schemeClr val="bg1"/>
                </a:solidFill>
                <a:latin typeface="Gotham Narrow Book" pitchFamily="50" charset="0"/>
              </a:rPr>
              <a:t>Company Informati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D4A047E-064A-4BC4-83AE-51D8B954BCB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3538" y="457838175"/>
            <a:ext cx="2049462" cy="32004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CB85B48-3833-459C-9869-D4F65B2A8C2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2175" y="462646713"/>
            <a:ext cx="3997325" cy="3930650"/>
          </a:xfrm>
          <a:prstGeom prst="rect">
            <a:avLst/>
          </a:prstGeom>
        </p:spPr>
      </p:pic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BCE45A2-BEA2-F34F-96F9-EA795D0054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6671554"/>
              </p:ext>
            </p:extLst>
          </p:nvPr>
        </p:nvGraphicFramePr>
        <p:xfrm>
          <a:off x="132202" y="956603"/>
          <a:ext cx="11916364" cy="53997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4689">
                  <a:extLst>
                    <a:ext uri="{9D8B030D-6E8A-4147-A177-3AD203B41FA5}">
                      <a16:colId xmlns:a16="http://schemas.microsoft.com/office/drawing/2014/main" val="85749343"/>
                    </a:ext>
                  </a:extLst>
                </a:gridCol>
                <a:gridCol w="2631454">
                  <a:extLst>
                    <a:ext uri="{9D8B030D-6E8A-4147-A177-3AD203B41FA5}">
                      <a16:colId xmlns:a16="http://schemas.microsoft.com/office/drawing/2014/main" val="3970047248"/>
                    </a:ext>
                  </a:extLst>
                </a:gridCol>
                <a:gridCol w="2570608">
                  <a:extLst>
                    <a:ext uri="{9D8B030D-6E8A-4147-A177-3AD203B41FA5}">
                      <a16:colId xmlns:a16="http://schemas.microsoft.com/office/drawing/2014/main" val="120874047"/>
                    </a:ext>
                  </a:extLst>
                </a:gridCol>
                <a:gridCol w="6149613">
                  <a:extLst>
                    <a:ext uri="{9D8B030D-6E8A-4147-A177-3AD203B41FA5}">
                      <a16:colId xmlns:a16="http://schemas.microsoft.com/office/drawing/2014/main" val="3237743176"/>
                    </a:ext>
                  </a:extLst>
                </a:gridCol>
              </a:tblGrid>
              <a:tr h="539974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50000036</a:t>
                      </a:r>
                      <a:endParaRPr lang="en-ZA" sz="9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vert="wordArtVert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VIPER DR1500H-EU BURNISHER</a:t>
                      </a:r>
                      <a:endParaRPr lang="en-ZA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Motor Power Source: Electric</a:t>
                      </a:r>
                      <a:b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Brush/Pad Speed (RPM): 1500</a:t>
                      </a:r>
                      <a:b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Cable length (M): 15</a:t>
                      </a:r>
                      <a:b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Cleaning Width (mm): 510mm</a:t>
                      </a:r>
                      <a:endParaRPr lang="en-ZA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This ultra-high speed burnisher covers large areas with efficiency and low maintenance costs</a:t>
                      </a: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For the perfect finish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The Viper DR1500H is a Ultra High Speed (UHS) burnisher designed to cover large areas with less maintenance costs. 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It is used for long lasting shine to hard floors. 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Simple and easy to use controls.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The Viper DR1500H is robust, reliable and service friendly. 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With this ergonomic design you can easily spray clean hard floors. 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Ideal for building a long-lasting shine to hard floors, this electric cord burnisher is also the right choice for high productivity in polishing and maintenance of floors in medium duty applications.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Easy to use: Ergonomic adjustable handle and adjustable handle for easy storage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Safe and user-friendly: High manoeuvrability with large wheels and safety lock-out switch for your safety</a:t>
                      </a:r>
                      <a:b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ZA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Great value for money: High quality product at a value-for-money price point</a:t>
                      </a:r>
                      <a:endParaRPr lang="en-ZA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529932"/>
                  </a:ext>
                </a:extLst>
              </a:tr>
            </a:tbl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9067E2AF-D5F0-486F-82B3-5F527D54261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0" y="467660038"/>
            <a:ext cx="2079625" cy="3582987"/>
          </a:xfrm>
          <a:prstGeom prst="rect">
            <a:avLst/>
          </a:prstGeom>
        </p:spPr>
      </p:pic>
      <p:pic>
        <p:nvPicPr>
          <p:cNvPr id="9" name="Picture 8" descr="A picture containing appliance&#10;&#10;Description automatically generated">
            <a:extLst>
              <a:ext uri="{FF2B5EF4-FFF2-40B4-BE49-F238E27FC236}">
                <a16:creationId xmlns:a16="http://schemas.microsoft.com/office/drawing/2014/main" id="{9B3D47F3-94E9-4E4B-A7A6-D0DAC1629C4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2001" y="2085739"/>
            <a:ext cx="2261537" cy="405149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C263CE4-5178-B94B-ACA9-F946BC000F38}"/>
              </a:ext>
            </a:extLst>
          </p:cNvPr>
          <p:cNvSpPr txBox="1"/>
          <p:nvPr/>
        </p:nvSpPr>
        <p:spPr>
          <a:xfrm>
            <a:off x="132202" y="246094"/>
            <a:ext cx="115962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3200" b="1" dirty="0">
                <a:solidFill>
                  <a:srgbClr val="002060"/>
                </a:solidFill>
                <a:latin typeface="Calibri" panose="020F0502020204030204" pitchFamily="34" charset="0"/>
              </a:rPr>
              <a:t>VIPER DR1500 BURNISHER</a:t>
            </a:r>
          </a:p>
        </p:txBody>
      </p:sp>
    </p:spTree>
    <p:extLst>
      <p:ext uri="{BB962C8B-B14F-4D97-AF65-F5344CB8AC3E}">
        <p14:creationId xmlns:p14="http://schemas.microsoft.com/office/powerpoint/2010/main" val="3640169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1100" dirty="0">
                <a:latin typeface="Helvetica" pitchFamily="2" charset="0"/>
              </a:rPr>
              <a:t>COMPAN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0" y="6356350"/>
            <a:ext cx="774700" cy="365125"/>
          </a:xfrm>
        </p:spPr>
        <p:txBody>
          <a:bodyPr/>
          <a:lstStyle/>
          <a:p>
            <a:r>
              <a:rPr lang="en-US" sz="1100" dirty="0">
                <a:latin typeface="Helvetica" pitchFamily="2" charset="0"/>
              </a:rPr>
              <a:t>Page </a:t>
            </a:r>
            <a:fld id="{6C385236-B7BA-4938-9EA6-6DEC8CA653D7}" type="slidenum">
              <a:rPr lang="en-US" sz="1100" smtClean="0">
                <a:latin typeface="Helvetica" pitchFamily="2" charset="0"/>
              </a:rPr>
              <a:pPr/>
              <a:t>4</a:t>
            </a:fld>
            <a:endParaRPr lang="en-US" sz="1100" dirty="0">
              <a:latin typeface="Helvetica" pitchFamily="2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652D415-5159-F34A-8392-942AD43B67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000" y="136525"/>
            <a:ext cx="11595100" cy="1108075"/>
          </a:xfrm>
        </p:spPr>
        <p:txBody>
          <a:bodyPr>
            <a:normAutofit/>
          </a:bodyPr>
          <a:lstStyle/>
          <a:p>
            <a:r>
              <a:rPr lang="en-ZA" sz="32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JECTIVES OF CLEANING IN A HOSPITAL ENVIRONMENT</a:t>
            </a:r>
            <a:r>
              <a:rPr lang="en-ZA" sz="2800" b="0" i="0" u="none" strike="noStrike" baseline="0" dirty="0">
                <a:solidFill>
                  <a:srgbClr val="000000"/>
                </a:solidFill>
                <a:latin typeface="Century Gothic Pro"/>
              </a:rPr>
              <a:t/>
            </a:r>
            <a:br>
              <a:rPr lang="en-ZA" sz="2800" b="0" i="0" u="none" strike="noStrike" baseline="0" dirty="0">
                <a:solidFill>
                  <a:srgbClr val="000000"/>
                </a:solidFill>
                <a:latin typeface="Century Gothic Pro"/>
              </a:rPr>
            </a:br>
            <a:endParaRPr lang="en-US" sz="2600" b="1" dirty="0">
              <a:solidFill>
                <a:schemeClr val="tx1">
                  <a:lumMod val="65000"/>
                  <a:lumOff val="35000"/>
                </a:schemeClr>
              </a:solidFill>
              <a:latin typeface="Helvetica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22CE0D-33A1-964C-B4F8-2C8F344D1A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47300" y="5477648"/>
            <a:ext cx="2044700" cy="151292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D1F7896-1BE1-CD4E-957F-CBF12C68148F}"/>
              </a:ext>
            </a:extLst>
          </p:cNvPr>
          <p:cNvSpPr txBox="1">
            <a:spLocks/>
          </p:cNvSpPr>
          <p:nvPr/>
        </p:nvSpPr>
        <p:spPr>
          <a:xfrm>
            <a:off x="359999" y="1346731"/>
            <a:ext cx="11470051" cy="44635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Helvetica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B6E2695-AEAE-4863-AB28-8E299119B1B6}"/>
              </a:ext>
            </a:extLst>
          </p:cNvPr>
          <p:cNvSpPr txBox="1"/>
          <p:nvPr/>
        </p:nvSpPr>
        <p:spPr>
          <a:xfrm>
            <a:off x="254000" y="896908"/>
            <a:ext cx="11811150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en-ZA" sz="20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achieve the required standards of hygiene and cleanliness.</a:t>
            </a:r>
          </a:p>
          <a:p>
            <a:endParaRPr lang="en-ZA" sz="20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ZA" sz="20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achieve the required visual appearance level.</a:t>
            </a:r>
          </a:p>
          <a:p>
            <a:endParaRPr lang="en-ZA" sz="20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ZA" sz="20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prevent cleaning personnel from unwittingly acting as vehicles for pathogenic micro-organisms (cross infection).</a:t>
            </a:r>
          </a:p>
          <a:p>
            <a:endParaRPr lang="en-ZA" sz="20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ZA" sz="20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carry out cleaning without undue hindrance to patients at the lowest cost.</a:t>
            </a:r>
            <a:endParaRPr lang="en-ZA" sz="2000" b="0" i="0" u="none" strike="noStrike" baseline="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 descr="A picture containing floor, indoor, kitchen, ceiling&#10;&#10;Description automatically generated">
            <a:extLst>
              <a:ext uri="{FF2B5EF4-FFF2-40B4-BE49-F238E27FC236}">
                <a16:creationId xmlns:a16="http://schemas.microsoft.com/office/drawing/2014/main" id="{3F0C63D7-9EC2-4444-98E8-40F6E0CD72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7015" y="3578490"/>
            <a:ext cx="4526385" cy="3016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57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9644" y="115665"/>
            <a:ext cx="11731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3200" b="1" dirty="0">
                <a:solidFill>
                  <a:srgbClr val="002060"/>
                </a:solidFill>
                <a:latin typeface="Calibri" panose="020F0502020204030204" pitchFamily="34" charset="0"/>
              </a:rPr>
              <a:t>FLOOR PA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0A3A3E-CDC9-F045-9EC6-7FBFB7F30AFD}"/>
              </a:ext>
            </a:extLst>
          </p:cNvPr>
          <p:cNvSpPr txBox="1"/>
          <p:nvPr/>
        </p:nvSpPr>
        <p:spPr>
          <a:xfrm>
            <a:off x="206911" y="822694"/>
            <a:ext cx="1162401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Red – Buffing</a:t>
            </a:r>
          </a:p>
          <a:p>
            <a:pPr marL="342900" indent="-34290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Pink – Burnishing</a:t>
            </a:r>
          </a:p>
          <a:p>
            <a:pPr marL="342900" indent="-34290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Blue – Cleaning/scrubbing</a:t>
            </a:r>
          </a:p>
          <a:p>
            <a:pPr marL="342900" indent="-34290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Black- Stripping</a:t>
            </a:r>
          </a:p>
          <a:p>
            <a:pPr marL="342900" indent="-34290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Green Eco Pad  Polish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BD314B2-494D-2444-9003-5BF510AF543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9558"/>
          <a:stretch/>
        </p:blipFill>
        <p:spPr>
          <a:xfrm>
            <a:off x="5692410" y="2953820"/>
            <a:ext cx="4064000" cy="3675580"/>
          </a:xfrm>
          <a:prstGeom prst="rect">
            <a:avLst/>
          </a:prstGeom>
        </p:spPr>
      </p:pic>
      <p:pic>
        <p:nvPicPr>
          <p:cNvPr id="6" name="Picture 5" descr="A picture containing wheel&#10;&#10;Description automatically generated">
            <a:extLst>
              <a:ext uri="{FF2B5EF4-FFF2-40B4-BE49-F238E27FC236}">
                <a16:creationId xmlns:a16="http://schemas.microsoft.com/office/drawing/2014/main" id="{72B29517-8C1B-704C-92E7-31FAE4FDEC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2605" y="2149939"/>
            <a:ext cx="2669933" cy="2669933"/>
          </a:xfrm>
          <a:prstGeom prst="rect">
            <a:avLst/>
          </a:prstGeom>
        </p:spPr>
      </p:pic>
      <p:pic>
        <p:nvPicPr>
          <p:cNvPr id="9" name="Picture 8" descr="A black circle with a white circle in the middle&#10;&#10;Description automatically generated with low confidence">
            <a:extLst>
              <a:ext uri="{FF2B5EF4-FFF2-40B4-BE49-F238E27FC236}">
                <a16:creationId xmlns:a16="http://schemas.microsoft.com/office/drawing/2014/main" id="{AACB4AF4-BF74-7541-B91A-5344D3EE96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35694" y="2001751"/>
            <a:ext cx="1219200" cy="1219200"/>
          </a:xfrm>
          <a:prstGeom prst="rect">
            <a:avLst/>
          </a:prstGeom>
        </p:spPr>
      </p:pic>
      <p:pic>
        <p:nvPicPr>
          <p:cNvPr id="11" name="Picture 10" descr="A picture containing wheel, building material, stone&#10;&#10;Description automatically generated">
            <a:extLst>
              <a:ext uri="{FF2B5EF4-FFF2-40B4-BE49-F238E27FC236}">
                <a16:creationId xmlns:a16="http://schemas.microsoft.com/office/drawing/2014/main" id="{DC1359F0-F47A-E346-94BA-C677CC8119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62511" y="4819872"/>
            <a:ext cx="1922463" cy="1922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65008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9644" y="115665"/>
            <a:ext cx="11731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3200" b="1" dirty="0">
                <a:solidFill>
                  <a:srgbClr val="002060"/>
                </a:solidFill>
                <a:latin typeface="Calibri" panose="020F0502020204030204" pitchFamily="34" charset="0"/>
              </a:rPr>
              <a:t>VACCUM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0A3A3E-CDC9-F045-9EC6-7FBFB7F30AFD}"/>
              </a:ext>
            </a:extLst>
          </p:cNvPr>
          <p:cNvSpPr txBox="1"/>
          <p:nvPr/>
        </p:nvSpPr>
        <p:spPr>
          <a:xfrm>
            <a:off x="206911" y="822694"/>
            <a:ext cx="11624017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2060"/>
                </a:solidFill>
              </a:rPr>
              <a:t>Wet Vacuums</a:t>
            </a:r>
          </a:p>
          <a:p>
            <a:endParaRPr lang="en-US" sz="2000" dirty="0">
              <a:solidFill>
                <a:srgbClr val="002060"/>
              </a:solidFill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Wet Scrubbing, stripping and sealing</a:t>
            </a:r>
          </a:p>
          <a:p>
            <a:pPr marL="342900" indent="-34290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Efficient </a:t>
            </a:r>
          </a:p>
          <a:p>
            <a:pPr marL="342900" indent="-34290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Must be stored clean and Dry</a:t>
            </a:r>
          </a:p>
          <a:p>
            <a:pPr marL="342900" indent="-342900">
              <a:buFont typeface="Wingdings" pitchFamily="2" charset="2"/>
              <a:buChar char="ü"/>
            </a:pPr>
            <a:endParaRPr lang="en-US" sz="2000" b="1" dirty="0">
              <a:solidFill>
                <a:srgbClr val="002060"/>
              </a:solidFill>
            </a:endParaRPr>
          </a:p>
          <a:p>
            <a:endParaRPr lang="en-US" sz="2000" b="1" dirty="0">
              <a:solidFill>
                <a:srgbClr val="002060"/>
              </a:solidFill>
            </a:endParaRPr>
          </a:p>
          <a:p>
            <a:r>
              <a:rPr lang="en-US" sz="2000" b="1" dirty="0">
                <a:solidFill>
                  <a:srgbClr val="002060"/>
                </a:solidFill>
              </a:rPr>
              <a:t>Dry Vacuums</a:t>
            </a:r>
          </a:p>
          <a:p>
            <a:endParaRPr lang="en-US" sz="2000" b="1" dirty="0">
              <a:solidFill>
                <a:srgbClr val="002060"/>
              </a:solidFill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Disposable bags</a:t>
            </a:r>
          </a:p>
          <a:p>
            <a:pPr marL="342900" indent="-34290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 err="1">
                <a:solidFill>
                  <a:srgbClr val="002060"/>
                </a:solidFill>
              </a:rPr>
              <a:t>Hepa</a:t>
            </a:r>
            <a:r>
              <a:rPr lang="en-US" sz="2000" dirty="0">
                <a:solidFill>
                  <a:srgbClr val="002060"/>
                </a:solidFill>
              </a:rPr>
              <a:t> filtration</a:t>
            </a:r>
          </a:p>
          <a:p>
            <a:pPr marL="342900" indent="-342900">
              <a:buFont typeface="Wingdings" pitchFamily="2" charset="2"/>
              <a:buChar char="ü"/>
            </a:pPr>
            <a:endParaRPr lang="en-US" sz="2000" dirty="0">
              <a:solidFill>
                <a:srgbClr val="002060"/>
              </a:solidFill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Noise levels</a:t>
            </a:r>
          </a:p>
        </p:txBody>
      </p:sp>
      <p:pic>
        <p:nvPicPr>
          <p:cNvPr id="9" name="Picture 8" descr="A picture containing indoor, floor, person, ceiling&#10;&#10;Description automatically generated">
            <a:extLst>
              <a:ext uri="{FF2B5EF4-FFF2-40B4-BE49-F238E27FC236}">
                <a16:creationId xmlns:a16="http://schemas.microsoft.com/office/drawing/2014/main" id="{3F408B87-1593-E74A-AC3A-38AA057EAF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44000" y="1207294"/>
            <a:ext cx="6110330" cy="4443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05260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6">
            <a:extLst>
              <a:ext uri="{FF2B5EF4-FFF2-40B4-BE49-F238E27FC236}">
                <a16:creationId xmlns:a16="http://schemas.microsoft.com/office/drawing/2014/main" id="{7042C5CB-CAF2-C982-916C-375DABF6664F}"/>
              </a:ext>
            </a:extLst>
          </p:cNvPr>
          <p:cNvSpPr txBox="1">
            <a:spLocks/>
          </p:cNvSpPr>
          <p:nvPr/>
        </p:nvSpPr>
        <p:spPr>
          <a:xfrm>
            <a:off x="0" y="-1047"/>
            <a:ext cx="12085821" cy="1266986"/>
          </a:xfrm>
          <a:prstGeom prst="rect">
            <a:avLst/>
          </a:prstGeom>
          <a:solidFill>
            <a:srgbClr val="1B345E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DE5524"/>
                </a:solidFill>
                <a:effectLst/>
                <a:uLnTx/>
                <a:uFillTx/>
                <a:latin typeface="Avenir Book" panose="02000503020000020003" pitchFamily="2" charset="0"/>
                <a:ea typeface="+mj-ea"/>
                <a:cs typeface="Gotham" pitchFamily="2" charset="0"/>
              </a:rPr>
              <a:t>General Guideline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Book" panose="02000503020000020003" pitchFamily="2" charset="0"/>
              <a:ea typeface="+mj-ea"/>
              <a:cs typeface="Gotham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99DC75C-C439-6D4E-942A-37D69943CB47}"/>
              </a:ext>
            </a:extLst>
          </p:cNvPr>
          <p:cNvSpPr txBox="1"/>
          <p:nvPr/>
        </p:nvSpPr>
        <p:spPr>
          <a:xfrm>
            <a:off x="2261286" y="206357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FA7D478-32C6-6D6A-8AA9-E1BAF41DC902}"/>
              </a:ext>
            </a:extLst>
          </p:cNvPr>
          <p:cNvSpPr txBox="1"/>
          <p:nvPr/>
        </p:nvSpPr>
        <p:spPr>
          <a:xfrm>
            <a:off x="329857" y="1482914"/>
            <a:ext cx="10866596" cy="51683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203E6C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Gotham Narrow Black"/>
              </a:rPr>
              <a:t>Clean and dry is safe, wet and dirty is unsafe</a:t>
            </a:r>
          </a:p>
          <a:p>
            <a:pPr marL="342900" marR="0" lvl="0" indent="-342900" algn="l" defTabSz="9144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203E6C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Gotham Narrow Black"/>
              </a:rPr>
              <a:t>Always clean from the highest area to the lowes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03E6C"/>
              </a:solidFill>
              <a:effectLst/>
              <a:uLnTx/>
              <a:uFillTx/>
              <a:latin typeface="Avenir Book" panose="02000503020000020003" pitchFamily="2" charset="0"/>
              <a:ea typeface="+mn-ea"/>
              <a:cs typeface="Gotham Narrow Black"/>
            </a:endParaRPr>
          </a:p>
          <a:p>
            <a:pPr marL="342900" marR="0" lvl="0" indent="-342900" algn="l" defTabSz="9144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203E6C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Gotham Narrow Black"/>
              </a:rPr>
              <a:t>Always clean from clean to dirty</a:t>
            </a:r>
          </a:p>
          <a:p>
            <a:pPr marL="342900" marR="0" lvl="0" indent="-342900" algn="l" defTabSz="9144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203E6C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Gotham Narrow Black"/>
              </a:rPr>
              <a:t>Separate above the floor and floor cleaning</a:t>
            </a:r>
          </a:p>
          <a:p>
            <a:pPr marL="342900" marR="0" lvl="0" indent="-342900" algn="l" defTabSz="9144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203E6C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Gotham Narrow Black"/>
              </a:rPr>
              <a:t>Co-operation between cleaning and IPC critical</a:t>
            </a:r>
          </a:p>
          <a:p>
            <a:pPr marL="342900" marR="0" lvl="0" indent="-342900" algn="l" defTabSz="9144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203E6C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Gotham Narrow Black"/>
              </a:rPr>
              <a:t>Audit tools: UV lights, gloss metres, audit checklis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venir Book" panose="02000503020000020003" pitchFamily="2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venir Book" panose="02000503020000020003" pitchFamily="2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Calibri" panose="020F0502020204030204" pitchFamily="34" charset="0"/>
              </a:rPr>
              <a:t>Critical Control Points in cross contamination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venir Book" panose="02000503020000020003" pitchFamily="2" charset="0"/>
              <a:ea typeface="+mn-ea"/>
              <a:cs typeface="Calibri" panose="020F050202020403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Calibri" panose="020F0502020204030204" pitchFamily="34" charset="0"/>
              </a:rPr>
              <a:t>Hand wash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Calibri" panose="020F0502020204030204" pitchFamily="34" charset="0"/>
              </a:rPr>
              <a:t>Touch poin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Calibri" panose="020F0502020204030204" pitchFamily="34" charset="0"/>
              </a:rPr>
              <a:t>Dust control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Calibri" panose="020F0502020204030204" pitchFamily="34" charset="0"/>
              </a:rPr>
              <a:t>Frequencies</a:t>
            </a:r>
          </a:p>
        </p:txBody>
      </p:sp>
      <p:pic>
        <p:nvPicPr>
          <p:cNvPr id="3" name="Picture 2" descr="A picture containing bathroom, indoor, toilet, person&#10;&#10;Description automatically generated">
            <a:extLst>
              <a:ext uri="{FF2B5EF4-FFF2-40B4-BE49-F238E27FC236}">
                <a16:creationId xmlns:a16="http://schemas.microsoft.com/office/drawing/2014/main" id="{5BF06180-1183-E550-2CC4-D43A97D5230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7228" y="1500783"/>
            <a:ext cx="3386950" cy="5080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2424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1100" dirty="0">
                <a:latin typeface="Helvetica" pitchFamily="2" charset="0"/>
              </a:rPr>
              <a:t>COMPAN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0" y="6356350"/>
            <a:ext cx="774700" cy="365125"/>
          </a:xfrm>
        </p:spPr>
        <p:txBody>
          <a:bodyPr/>
          <a:lstStyle/>
          <a:p>
            <a:r>
              <a:rPr lang="en-US" sz="1100" dirty="0">
                <a:latin typeface="Helvetica" pitchFamily="2" charset="0"/>
              </a:rPr>
              <a:t>Page </a:t>
            </a:r>
            <a:fld id="{6C385236-B7BA-4938-9EA6-6DEC8CA653D7}" type="slidenum">
              <a:rPr lang="en-US" sz="1100" smtClean="0">
                <a:latin typeface="Helvetica" pitchFamily="2" charset="0"/>
              </a:rPr>
              <a:pPr/>
              <a:t>5</a:t>
            </a:fld>
            <a:endParaRPr lang="en-US" sz="1100" dirty="0">
              <a:latin typeface="Helvetica" pitchFamily="2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652D415-5159-F34A-8392-942AD43B67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000" y="136525"/>
            <a:ext cx="11595100" cy="1108075"/>
          </a:xfrm>
        </p:spPr>
        <p:txBody>
          <a:bodyPr>
            <a:normAutofit/>
          </a:bodyPr>
          <a:lstStyle/>
          <a:p>
            <a:r>
              <a:rPr lang="en-ZA" sz="3200" b="1" dirty="0">
                <a:solidFill>
                  <a:srgbClr val="002060"/>
                </a:solidFill>
                <a:latin typeface="+mn-lt"/>
              </a:rPr>
              <a:t>LOW RISK AREAS:</a:t>
            </a:r>
            <a:r>
              <a:rPr lang="en-ZA" sz="3200" b="1" i="0" u="none" strike="noStrike" baseline="0" dirty="0">
                <a:solidFill>
                  <a:srgbClr val="002060"/>
                </a:solidFill>
                <a:latin typeface="+mn-lt"/>
              </a:rPr>
              <a:t> </a:t>
            </a:r>
            <a:r>
              <a:rPr lang="en-ZA" sz="2800" b="0" i="0" u="none" strike="noStrike" baseline="0" dirty="0">
                <a:solidFill>
                  <a:srgbClr val="000000"/>
                </a:solidFill>
                <a:latin typeface="Century Gothic Pro"/>
              </a:rPr>
              <a:t/>
            </a:r>
            <a:br>
              <a:rPr lang="en-ZA" sz="2800" b="0" i="0" u="none" strike="noStrike" baseline="0" dirty="0">
                <a:solidFill>
                  <a:srgbClr val="000000"/>
                </a:solidFill>
                <a:latin typeface="Century Gothic Pro"/>
              </a:rPr>
            </a:br>
            <a:endParaRPr lang="en-US" sz="2600" b="1" dirty="0">
              <a:solidFill>
                <a:schemeClr val="tx1">
                  <a:lumMod val="65000"/>
                  <a:lumOff val="35000"/>
                </a:schemeClr>
              </a:solidFill>
              <a:latin typeface="Helvetica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22CE0D-33A1-964C-B4F8-2C8F344D1A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47300" y="5477648"/>
            <a:ext cx="2044700" cy="151292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D1F7896-1BE1-CD4E-957F-CBF12C68148F}"/>
              </a:ext>
            </a:extLst>
          </p:cNvPr>
          <p:cNvSpPr txBox="1">
            <a:spLocks/>
          </p:cNvSpPr>
          <p:nvPr/>
        </p:nvSpPr>
        <p:spPr>
          <a:xfrm>
            <a:off x="359999" y="1346731"/>
            <a:ext cx="11470051" cy="44635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Helvetica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B6E2695-AEAE-4863-AB28-8E299119B1B6}"/>
              </a:ext>
            </a:extLst>
          </p:cNvPr>
          <p:cNvSpPr txBox="1"/>
          <p:nvPr/>
        </p:nvSpPr>
        <p:spPr>
          <a:xfrm>
            <a:off x="254000" y="896908"/>
            <a:ext cx="11811150" cy="4031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i="0" u="none" strike="noStrike" baseline="0" dirty="0">
                <a:solidFill>
                  <a:srgbClr val="002060"/>
                </a:solidFill>
              </a:rPr>
              <a:t>Are areas in which the transmission of infection is relatively limited. Such areas include </a:t>
            </a:r>
            <a:r>
              <a:rPr lang="en-US" sz="2000" b="1" dirty="0">
                <a:solidFill>
                  <a:srgbClr val="002060"/>
                </a:solidFill>
              </a:rPr>
              <a:t>the </a:t>
            </a:r>
            <a:r>
              <a:rPr lang="en-US" sz="2000" b="1" i="0" u="none" strike="noStrike" baseline="0" dirty="0">
                <a:solidFill>
                  <a:srgbClr val="002060"/>
                </a:solidFill>
              </a:rPr>
              <a:t>recreational areas outside the wards and departmental utility rooms:</a:t>
            </a:r>
          </a:p>
          <a:p>
            <a:endParaRPr lang="en-US" sz="2000" b="0" i="0" u="none" strike="noStrike" baseline="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ZA" sz="2000" i="0" u="none" strike="noStrike" baseline="0" dirty="0">
                <a:solidFill>
                  <a:srgbClr val="002060"/>
                </a:solidFill>
              </a:rPr>
              <a:t>Reception areas </a:t>
            </a:r>
          </a:p>
          <a:p>
            <a:endParaRPr lang="en-ZA" sz="2000" i="0" u="none" strike="noStrike" baseline="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i="0" u="none" strike="noStrike" baseline="0" dirty="0">
                <a:solidFill>
                  <a:srgbClr val="002060"/>
                </a:solidFill>
              </a:rPr>
              <a:t>Recreational areas outside ward room   </a:t>
            </a:r>
            <a:r>
              <a:rPr lang="en-ZA" sz="2000" i="0" u="none" strike="noStrike" baseline="0" dirty="0">
                <a:solidFill>
                  <a:srgbClr val="002060"/>
                </a:solidFill>
              </a:rPr>
              <a:t>Departmental utility rooms </a:t>
            </a:r>
          </a:p>
          <a:p>
            <a:endParaRPr lang="en-US" sz="2000" i="0" u="none" strike="noStrike" baseline="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ZA" sz="2000" i="0" u="none" strike="noStrike" baseline="0" dirty="0">
                <a:solidFill>
                  <a:srgbClr val="002060"/>
                </a:solidFill>
              </a:rPr>
              <a:t>Departmental utility rooms </a:t>
            </a:r>
          </a:p>
          <a:p>
            <a:endParaRPr lang="en-ZA" sz="2000" dirty="0">
              <a:solidFill>
                <a:srgbClr val="002060"/>
              </a:solidFill>
            </a:endParaRPr>
          </a:p>
          <a:p>
            <a:r>
              <a:rPr lang="en-ZA" sz="2000" b="1" dirty="0">
                <a:solidFill>
                  <a:srgbClr val="002060"/>
                </a:solidFill>
              </a:rPr>
              <a:t>Clean every 24 hrs</a:t>
            </a:r>
          </a:p>
          <a:p>
            <a:endParaRPr lang="en-ZA" sz="2000" b="1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endParaRPr lang="en-ZA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endParaRPr lang="en-ZA" sz="1800" b="0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1604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A4540F7-54CE-40E0-BA36-4A300AAA4C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C90F25F-DA25-4FAE-93C2-1428DEB27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27EE1C7-179A-4C65-AAA1-F6AD47AD1D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764" y="156729"/>
            <a:ext cx="10515600" cy="1325563"/>
          </a:xfrm>
        </p:spPr>
        <p:txBody>
          <a:bodyPr/>
          <a:lstStyle/>
          <a:p>
            <a:r>
              <a:rPr lang="en-ZA" sz="3200" b="1" i="0" u="none" strike="noStrike" baseline="0" dirty="0">
                <a:solidFill>
                  <a:srgbClr val="002060"/>
                </a:solidFill>
                <a:latin typeface="+mn-lt"/>
              </a:rPr>
              <a:t>MEDIUM RISK AREAS </a:t>
            </a:r>
            <a:r>
              <a:rPr lang="en-ZA" sz="4400" b="0" i="0" u="none" strike="noStrike" baseline="0" dirty="0">
                <a:solidFill>
                  <a:srgbClr val="000000"/>
                </a:solidFill>
                <a:latin typeface="Century Gothic Pro"/>
              </a:rPr>
              <a:t/>
            </a:r>
            <a:br>
              <a:rPr lang="en-ZA" sz="4400" b="0" i="0" u="none" strike="noStrike" baseline="0" dirty="0">
                <a:solidFill>
                  <a:srgbClr val="000000"/>
                </a:solidFill>
                <a:latin typeface="Century Gothic Pro"/>
              </a:rPr>
            </a:br>
            <a:endParaRPr lang="en-ZA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E4F4DC3-A21A-154D-9953-FEA1128272C4}"/>
              </a:ext>
            </a:extLst>
          </p:cNvPr>
          <p:cNvSpPr txBox="1"/>
          <p:nvPr/>
        </p:nvSpPr>
        <p:spPr>
          <a:xfrm>
            <a:off x="339435" y="781387"/>
            <a:ext cx="11734801" cy="594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2060"/>
                </a:solidFill>
              </a:rPr>
              <a:t>Are areas with a medium risk of transmitting infections. </a:t>
            </a:r>
          </a:p>
          <a:p>
            <a:r>
              <a:rPr lang="en-US" sz="2000" b="1" dirty="0">
                <a:solidFill>
                  <a:srgbClr val="002060"/>
                </a:solidFill>
              </a:rPr>
              <a:t>These areas therefore require more careful cleaning and disinfection. </a:t>
            </a:r>
          </a:p>
          <a:p>
            <a:endParaRPr lang="en-US" sz="2000" b="1" dirty="0">
              <a:solidFill>
                <a:srgbClr val="002060"/>
              </a:solidFill>
            </a:endParaRPr>
          </a:p>
          <a:p>
            <a:r>
              <a:rPr lang="en-US" sz="2000" b="1" dirty="0">
                <a:solidFill>
                  <a:srgbClr val="002060"/>
                </a:solidFill>
              </a:rPr>
              <a:t>Medium risk areas include: in-patient areas, out-patient areas, wards, treatment (X-Rays), sanitary facilities and laundry. </a:t>
            </a:r>
          </a:p>
          <a:p>
            <a:r>
              <a:rPr lang="en-US" sz="2000" b="1" dirty="0">
                <a:solidFill>
                  <a:srgbClr val="002060"/>
                </a:solidFill>
              </a:rPr>
              <a:t>In these areas regular cleaning</a:t>
            </a:r>
          </a:p>
          <a:p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In-patient areas </a:t>
            </a:r>
          </a:p>
          <a:p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Out-patient areas </a:t>
            </a:r>
          </a:p>
          <a:p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Wards </a:t>
            </a:r>
          </a:p>
          <a:p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Treatment (X-Ray) </a:t>
            </a:r>
          </a:p>
          <a:p>
            <a:endParaRPr lang="en-US" sz="2000" dirty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2000" dirty="0">
                <a:solidFill>
                  <a:srgbClr val="002060"/>
                </a:solidFill>
              </a:rPr>
              <a:t>Sanitary facilities</a:t>
            </a:r>
          </a:p>
          <a:p>
            <a:endParaRPr lang="en-US" sz="2000" dirty="0">
              <a:solidFill>
                <a:srgbClr val="002060"/>
              </a:solidFill>
            </a:endParaRPr>
          </a:p>
          <a:p>
            <a:r>
              <a:rPr lang="en-ZA" sz="2000" b="1" dirty="0">
                <a:solidFill>
                  <a:srgbClr val="002060"/>
                </a:solidFill>
              </a:rPr>
              <a:t>Clean every 24 hours </a:t>
            </a:r>
            <a:endParaRPr lang="en-US" sz="2000" b="1" dirty="0">
              <a:solidFill>
                <a:srgbClr val="002060"/>
              </a:solidFill>
            </a:endParaRPr>
          </a:p>
          <a:p>
            <a:r>
              <a:rPr lang="en-US" sz="2000" b="1" dirty="0">
                <a:solidFill>
                  <a:srgbClr val="002060"/>
                </a:solidFill>
              </a:rPr>
              <a:t>Touch points more often</a:t>
            </a:r>
          </a:p>
        </p:txBody>
      </p:sp>
    </p:spTree>
    <p:extLst>
      <p:ext uri="{BB962C8B-B14F-4D97-AF65-F5344CB8AC3E}">
        <p14:creationId xmlns:p14="http://schemas.microsoft.com/office/powerpoint/2010/main" val="3341928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A8AAE7E-AB4F-4F56-9424-C2D091DBAD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F8AB6B-6382-4F0D-9D95-CC0CC3589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ED3279-A0C4-40D3-9F1F-5B2260C2C2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654" y="136525"/>
            <a:ext cx="10515600" cy="1325563"/>
          </a:xfrm>
        </p:spPr>
        <p:txBody>
          <a:bodyPr/>
          <a:lstStyle/>
          <a:p>
            <a:r>
              <a:rPr lang="en-ZA" sz="3200" b="1" i="0" u="none" strike="noStrike" baseline="0" dirty="0">
                <a:solidFill>
                  <a:srgbClr val="002060"/>
                </a:solidFill>
                <a:latin typeface="+mn-lt"/>
              </a:rPr>
              <a:t>HIGH RISK AREAS </a:t>
            </a:r>
            <a:r>
              <a:rPr lang="en-ZA" sz="4400" b="0" i="0" u="none" strike="noStrike" baseline="0" dirty="0">
                <a:solidFill>
                  <a:srgbClr val="000000"/>
                </a:solidFill>
                <a:latin typeface="Century Gothic Pro"/>
              </a:rPr>
              <a:t/>
            </a:r>
            <a:br>
              <a:rPr lang="en-ZA" sz="4400" b="0" i="0" u="none" strike="noStrike" baseline="0" dirty="0">
                <a:solidFill>
                  <a:srgbClr val="000000"/>
                </a:solidFill>
                <a:latin typeface="Century Gothic Pro"/>
              </a:rPr>
            </a:br>
            <a:endParaRPr lang="en-ZA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FBA77EE-BEEE-4C33-98F1-17098EC01A0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80654" y="799306"/>
            <a:ext cx="11830692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i="0" u="none" strike="noStrike" baseline="0" dirty="0">
                <a:solidFill>
                  <a:srgbClr val="002060"/>
                </a:solidFill>
              </a:rPr>
              <a:t>Are areas with a high risk of transmitting infections. They therefore require frequent, careful, and methodical cleaning and disinfection. </a:t>
            </a:r>
          </a:p>
          <a:p>
            <a:pPr marL="0" indent="0">
              <a:buNone/>
            </a:pPr>
            <a:r>
              <a:rPr lang="en-US" sz="2000" b="1" i="0" u="none" strike="noStrike" baseline="0" dirty="0">
                <a:solidFill>
                  <a:srgbClr val="002060"/>
                </a:solidFill>
              </a:rPr>
              <a:t>All areas with special characteristics are classed as high risk and need specific treatment to satisfy their various cleaning and disinfection requirements. </a:t>
            </a:r>
          </a:p>
          <a:p>
            <a:pPr marL="0" indent="0" algn="just">
              <a:buNone/>
            </a:pPr>
            <a:endParaRPr lang="en-ZA" sz="2000" b="0" i="0" u="none" strike="noStrike" baseline="0" dirty="0">
              <a:solidFill>
                <a:srgbClr val="002060"/>
              </a:solidFill>
            </a:endParaRPr>
          </a:p>
          <a:p>
            <a:pPr algn="just">
              <a:buFont typeface="Wingdings" pitchFamily="2" charset="2"/>
              <a:buChar char="ü"/>
            </a:pPr>
            <a:r>
              <a:rPr lang="en-US" sz="2000" i="0" u="none" strike="noStrike" baseline="0" dirty="0">
                <a:solidFill>
                  <a:srgbClr val="002060"/>
                </a:solidFill>
              </a:rPr>
              <a:t> Use only dedicated cleaning equipment </a:t>
            </a:r>
          </a:p>
          <a:p>
            <a:pPr algn="just">
              <a:buFont typeface="Wingdings" pitchFamily="2" charset="2"/>
              <a:buChar char="ü"/>
            </a:pPr>
            <a:r>
              <a:rPr lang="en-US" sz="2000" i="0" u="none" strike="noStrike" baseline="0" dirty="0">
                <a:solidFill>
                  <a:srgbClr val="002060"/>
                </a:solidFill>
              </a:rPr>
              <a:t> Use disposable cloths and mop sleeves </a:t>
            </a:r>
          </a:p>
          <a:p>
            <a:pPr algn="just"/>
            <a:endParaRPr lang="en-US" sz="2000" b="1" i="0" u="none" strike="noStrike" baseline="0" dirty="0">
              <a:solidFill>
                <a:srgbClr val="002060"/>
              </a:solidFill>
            </a:endParaRPr>
          </a:p>
          <a:p>
            <a:pPr marL="0" indent="0" algn="just">
              <a:buNone/>
            </a:pPr>
            <a:r>
              <a:rPr lang="en-ZA" sz="2000" b="1" i="0" u="none" strike="noStrike" baseline="0" dirty="0">
                <a:solidFill>
                  <a:srgbClr val="002060"/>
                </a:solidFill>
              </a:rPr>
              <a:t>Clean every 24 hours </a:t>
            </a:r>
            <a:endParaRPr lang="en-US" sz="2000" b="1" dirty="0">
              <a:solidFill>
                <a:srgbClr val="002060"/>
              </a:solidFill>
            </a:endParaRPr>
          </a:p>
          <a:p>
            <a:pPr marL="0" indent="0" algn="just">
              <a:buNone/>
            </a:pPr>
            <a:r>
              <a:rPr lang="en-US" sz="2000" b="1" i="0" u="none" strike="noStrike" baseline="0" dirty="0">
                <a:solidFill>
                  <a:srgbClr val="002060"/>
                </a:solidFill>
              </a:rPr>
              <a:t>Clean touch points every 8 hours or as per </a:t>
            </a:r>
            <a:r>
              <a:rPr lang="en-US" sz="2000" b="1" dirty="0">
                <a:solidFill>
                  <a:srgbClr val="002060"/>
                </a:solidFill>
              </a:rPr>
              <a:t>IPP</a:t>
            </a:r>
            <a:endParaRPr lang="en-ZA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677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3CA124-A55F-4552-807A-C9B7EC79D9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2D288B-87BA-41C8-B58E-48830D17AF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1DC4F5-997F-446E-B426-064CA96F97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911" y="136525"/>
            <a:ext cx="10515600" cy="585627"/>
          </a:xfrm>
        </p:spPr>
        <p:txBody>
          <a:bodyPr>
            <a:normAutofit/>
          </a:bodyPr>
          <a:lstStyle/>
          <a:p>
            <a:r>
              <a:rPr lang="en-ZA" sz="3200" b="1" i="0" u="none" strike="noStrike" baseline="0" dirty="0">
                <a:solidFill>
                  <a:srgbClr val="002060"/>
                </a:solidFill>
                <a:latin typeface="+mn-lt"/>
              </a:rPr>
              <a:t>ABOVE FLOOR DUSTING  - GENERAL AREAS </a:t>
            </a:r>
            <a:endParaRPr lang="en-ZA" sz="3200" dirty="0">
              <a:solidFill>
                <a:srgbClr val="002060"/>
              </a:solidFill>
              <a:latin typeface="+mn-l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951ABB-DB8E-D14C-B3C7-A32820CE92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6750" y="722152"/>
            <a:ext cx="5778500" cy="591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587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FC0F60-CCDC-43F1-BF66-80F6C94B56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40CB60-1377-4A7B-B653-CDE0498DC1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51C1BA7-CFA4-4123-9761-D46CAF71B9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701" y="231925"/>
            <a:ext cx="10515600" cy="610920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EANING BASINS BATHS SHOWERS</a:t>
            </a:r>
            <a:endParaRPr lang="en-ZA" sz="32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A3205B5C-FA07-174A-94EE-19A2A283CA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70300" y="879475"/>
            <a:ext cx="4940300" cy="584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773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28DA61FE7E5A4D8EEAC7449595E393" ma:contentTypeVersion="15" ma:contentTypeDescription="Create a new document." ma:contentTypeScope="" ma:versionID="11f5502ce5acb481b0953b32d30eef23">
  <xsd:schema xmlns:xsd="http://www.w3.org/2001/XMLSchema" xmlns:xs="http://www.w3.org/2001/XMLSchema" xmlns:p="http://schemas.microsoft.com/office/2006/metadata/properties" xmlns:ns3="dfa5424f-91f5-4954-b5ec-71ba4e66ed66" xmlns:ns4="628d416a-7bce-4c08-a797-977fd1dc028f" targetNamespace="http://schemas.microsoft.com/office/2006/metadata/properties" ma:root="true" ma:fieldsID="19dddc94b0c30863a5fcd730da39eb3d" ns3:_="" ns4:_="">
    <xsd:import namespace="dfa5424f-91f5-4954-b5ec-71ba4e66ed66"/>
    <xsd:import namespace="628d416a-7bce-4c08-a797-977fd1dc028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LengthInSeconds" minOccurs="0"/>
                <xsd:element ref="ns3:_activity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ObjectDetectorVersions" minOccurs="0"/>
                <xsd:element ref="ns3:MediaServiceSystemTags" minOccurs="0"/>
                <xsd:element ref="ns3:MediaServiceSearchPropertie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a5424f-91f5-4954-b5ec-71ba4e66ed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13" nillable="true" ma:displayName="_activity" ma:hidden="true" ma:internalName="_activity">
      <xsd:simpleType>
        <xsd:restriction base="dms:Note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18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8d416a-7bce-4c08-a797-977fd1dc028f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fa5424f-91f5-4954-b5ec-71ba4e66ed66" xsi:nil="true"/>
  </documentManagement>
</p:properties>
</file>

<file path=customXml/itemProps1.xml><?xml version="1.0" encoding="utf-8"?>
<ds:datastoreItem xmlns:ds="http://schemas.openxmlformats.org/officeDocument/2006/customXml" ds:itemID="{CEA98CD3-F8EF-4FA1-8336-6975A06D2DA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fa5424f-91f5-4954-b5ec-71ba4e66ed66"/>
    <ds:schemaRef ds:uri="628d416a-7bce-4c08-a797-977fd1dc028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400FCA3-B8C1-43C5-BF0E-7B69AE58817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493517E-CE09-450E-A55E-F04C62D29C5B}">
  <ds:schemaRefs>
    <ds:schemaRef ds:uri="628d416a-7bce-4c08-a797-977fd1dc028f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dfa5424f-91f5-4954-b5ec-71ba4e66ed66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89</TotalTime>
  <Words>2850</Words>
  <Application>Microsoft Office PowerPoint</Application>
  <PresentationFormat>Widescreen</PresentationFormat>
  <Paragraphs>425</Paragraphs>
  <Slides>42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57" baseType="lpstr">
      <vt:lpstr>Arial</vt:lpstr>
      <vt:lpstr>Avenir Book</vt:lpstr>
      <vt:lpstr>Calibri</vt:lpstr>
      <vt:lpstr>Calibri Light</vt:lpstr>
      <vt:lpstr>Century Gothic</vt:lpstr>
      <vt:lpstr>Century Gothic Pro</vt:lpstr>
      <vt:lpstr>Gotham</vt:lpstr>
      <vt:lpstr>Gotham ExtraLight</vt:lpstr>
      <vt:lpstr>Gotham Narrow Black</vt:lpstr>
      <vt:lpstr>Gotham Narrow Book</vt:lpstr>
      <vt:lpstr>Helvetica</vt:lpstr>
      <vt:lpstr>Wingdings</vt:lpstr>
      <vt:lpstr>Office Theme</vt:lpstr>
      <vt:lpstr>1_Office Theme</vt:lpstr>
      <vt:lpstr>think-cell Slide</vt:lpstr>
      <vt:lpstr>Industroclean  Gics </vt:lpstr>
      <vt:lpstr>THE IMPORTANCE OF CLEANING IN A HOSPITAL </vt:lpstr>
      <vt:lpstr>THE RISK FACTOR IS BASED ON:  </vt:lpstr>
      <vt:lpstr>OBJECTIVES OF CLEANING IN A HOSPITAL ENVIRONMENT </vt:lpstr>
      <vt:lpstr>LOW RISK AREAS:  </vt:lpstr>
      <vt:lpstr>MEDIUM RISK AREAS  </vt:lpstr>
      <vt:lpstr>HIGH RISK AREAS  </vt:lpstr>
      <vt:lpstr>ABOVE FLOOR DUSTING  - GENERAL AREAS </vt:lpstr>
      <vt:lpstr>CLEANING BASINS BATHS SHOWERS</vt:lpstr>
      <vt:lpstr>CLEANING TOILETS AND SLUICES </vt:lpstr>
      <vt:lpstr>CLEANING OF ISOLATION ROOMS</vt:lpstr>
      <vt:lpstr>CHAIN OF CONTAMINATION</vt:lpstr>
      <vt:lpstr>CLEANING PRODUCT SELECTION CRITERI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H of Dirt and Chemicals</vt:lpstr>
      <vt:lpstr>Deterg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 Africa Monthly Review 2018 April</dc:title>
  <dc:creator>Emma Corder</dc:creator>
  <cp:lastModifiedBy>Hanlie Bronkhorst</cp:lastModifiedBy>
  <cp:revision>31</cp:revision>
  <cp:lastPrinted>2022-05-12T09:35:39Z</cp:lastPrinted>
  <dcterms:created xsi:type="dcterms:W3CDTF">2019-03-14T08:03:31Z</dcterms:created>
  <dcterms:modified xsi:type="dcterms:W3CDTF">2026-03-27T06:07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28DA61FE7E5A4D8EEAC7449595E393</vt:lpwstr>
  </property>
</Properties>
</file>